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596" r:id="rId5"/>
    <p:sldId id="518" r:id="rId6"/>
    <p:sldId id="521" r:id="rId7"/>
    <p:sldId id="523" r:id="rId8"/>
    <p:sldId id="595" r:id="rId9"/>
    <p:sldId id="522" r:id="rId10"/>
    <p:sldId id="598" r:id="rId11"/>
    <p:sldId id="526" r:id="rId12"/>
    <p:sldId id="597" r:id="rId13"/>
    <p:sldId id="590" r:id="rId14"/>
    <p:sldId id="591" r:id="rId15"/>
    <p:sldId id="592" r:id="rId16"/>
    <p:sldId id="594" r:id="rId17"/>
    <p:sldId id="593" r:id="rId18"/>
    <p:sldId id="527" r:id="rId19"/>
    <p:sldId id="520" r:id="rId20"/>
  </p:sldIdLst>
  <p:sldSz cx="12192000" cy="6858000"/>
  <p:notesSz cx="6794500" cy="9931400"/>
  <p:custDataLst>
    <p:tags r:id="rId2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DAEB"/>
    <a:srgbClr val="4D4D4D"/>
    <a:srgbClr val="D0E2EF"/>
    <a:srgbClr val="FFFFFF"/>
    <a:srgbClr val="D7D7D7"/>
    <a:srgbClr val="CCCCCC"/>
    <a:srgbClr val="999999"/>
    <a:srgbClr val="4472C4"/>
    <a:srgbClr val="A2C5E0"/>
    <a:srgbClr val="619A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E83A32-05F8-4146-B99C-E518862188D9}" v="1" dt="2026-05-06T09:31:34.757"/>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33" autoAdjust="0"/>
    <p:restoredTop sz="94679" autoAdjust="0"/>
  </p:normalViewPr>
  <p:slideViewPr>
    <p:cSldViewPr snapToGrid="0" showGuides="1">
      <p:cViewPr varScale="1">
        <p:scale>
          <a:sx n="105" d="100"/>
          <a:sy n="105" d="100"/>
        </p:scale>
        <p:origin x="660" y="96"/>
      </p:cViewPr>
      <p:guideLst>
        <p:guide orient="horz" pos="1389"/>
        <p:guide pos="384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a Wihlborg" userId="5b2bd2d0-8a6b-438d-83bd-1642f56c3aab" providerId="ADAL" clId="{1779BC13-CF79-4198-9CE4-D0F756422C6D}"/>
    <pc:docChg chg="undo custSel addSld delSld modSld sldOrd modNotesMaster">
      <pc:chgData name="Cecilia Wihlborg" userId="5b2bd2d0-8a6b-438d-83bd-1642f56c3aab" providerId="ADAL" clId="{1779BC13-CF79-4198-9CE4-D0F756422C6D}" dt="2026-05-06T09:32:12.020" v="2389" actId="27636"/>
      <pc:docMkLst>
        <pc:docMk/>
      </pc:docMkLst>
      <pc:sldChg chg="addSp delSp modSp mod modClrScheme chgLayout">
        <pc:chgData name="Cecilia Wihlborg" userId="5b2bd2d0-8a6b-438d-83bd-1642f56c3aab" providerId="ADAL" clId="{1779BC13-CF79-4198-9CE4-D0F756422C6D}" dt="2026-05-06T09:31:30.413" v="2384" actId="790"/>
        <pc:sldMkLst>
          <pc:docMk/>
          <pc:sldMk cId="2167195682" sldId="518"/>
        </pc:sldMkLst>
        <pc:spChg chg="mod">
          <ac:chgData name="Cecilia Wihlborg" userId="5b2bd2d0-8a6b-438d-83bd-1642f56c3aab" providerId="ADAL" clId="{1779BC13-CF79-4198-9CE4-D0F756422C6D}" dt="2026-05-06T09:31:30.413" v="2384" actId="790"/>
          <ac:spMkLst>
            <pc:docMk/>
            <pc:sldMk cId="2167195682" sldId="518"/>
            <ac:spMk id="2" creationId="{FE269E82-9A5F-B198-B89D-EB1B55B97E38}"/>
          </ac:spMkLst>
        </pc:spChg>
        <pc:spChg chg="mod">
          <ac:chgData name="Cecilia Wihlborg" userId="5b2bd2d0-8a6b-438d-83bd-1642f56c3aab" providerId="ADAL" clId="{1779BC13-CF79-4198-9CE4-D0F756422C6D}" dt="2026-05-06T09:31:30.413" v="2384" actId="790"/>
          <ac:spMkLst>
            <pc:docMk/>
            <pc:sldMk cId="2167195682" sldId="518"/>
            <ac:spMk id="3" creationId="{2D77E0C9-4919-64D4-A554-8895DB7EFB15}"/>
          </ac:spMkLst>
        </pc:spChg>
        <pc:spChg chg="add del mod">
          <ac:chgData name="Cecilia Wihlborg" userId="5b2bd2d0-8a6b-438d-83bd-1642f56c3aab" providerId="ADAL" clId="{1779BC13-CF79-4198-9CE4-D0F756422C6D}" dt="2026-05-05T12:23:46.026" v="2234" actId="26606"/>
          <ac:spMkLst>
            <pc:docMk/>
            <pc:sldMk cId="2167195682" sldId="518"/>
            <ac:spMk id="9" creationId="{40ECBABD-0F00-541E-EDDE-7F9E55D01B73}"/>
          </ac:spMkLst>
        </pc:spChg>
        <pc:picChg chg="add mod">
          <ac:chgData name="Cecilia Wihlborg" userId="5b2bd2d0-8a6b-438d-83bd-1642f56c3aab" providerId="ADAL" clId="{1779BC13-CF79-4198-9CE4-D0F756422C6D}" dt="2026-05-05T12:23:46.026" v="2234" actId="26606"/>
          <ac:picMkLst>
            <pc:docMk/>
            <pc:sldMk cId="2167195682" sldId="518"/>
            <ac:picMk id="5" creationId="{3B10AFDE-9C56-D04F-0836-56DE1128667B}"/>
          </ac:picMkLst>
        </pc:picChg>
      </pc:sldChg>
      <pc:sldChg chg="addSp delSp modSp mod ord modClrScheme chgLayout">
        <pc:chgData name="Cecilia Wihlborg" userId="5b2bd2d0-8a6b-438d-83bd-1642f56c3aab" providerId="ADAL" clId="{1779BC13-CF79-4198-9CE4-D0F756422C6D}" dt="2026-05-06T09:31:30.413" v="2384" actId="790"/>
        <pc:sldMkLst>
          <pc:docMk/>
          <pc:sldMk cId="3466137179" sldId="521"/>
        </pc:sldMkLst>
        <pc:spChg chg="mod ord">
          <ac:chgData name="Cecilia Wihlborg" userId="5b2bd2d0-8a6b-438d-83bd-1642f56c3aab" providerId="ADAL" clId="{1779BC13-CF79-4198-9CE4-D0F756422C6D}" dt="2026-05-06T09:31:30.413" v="2384" actId="790"/>
          <ac:spMkLst>
            <pc:docMk/>
            <pc:sldMk cId="3466137179" sldId="521"/>
            <ac:spMk id="2" creationId="{23DF56FB-4BD7-CF99-E634-707D5D6A1CED}"/>
          </ac:spMkLst>
        </pc:spChg>
        <pc:graphicFrameChg chg="add mod modGraphic">
          <ac:chgData name="Cecilia Wihlborg" userId="5b2bd2d0-8a6b-438d-83bd-1642f56c3aab" providerId="ADAL" clId="{1779BC13-CF79-4198-9CE4-D0F756422C6D}" dt="2026-05-06T09:31:30.413" v="2384" actId="790"/>
          <ac:graphicFrameMkLst>
            <pc:docMk/>
            <pc:sldMk cId="3466137179" sldId="521"/>
            <ac:graphicFrameMk id="7" creationId="{0947AAD1-A87A-20F5-D6FD-41D316E84EA0}"/>
          </ac:graphicFrameMkLst>
        </pc:graphicFrameChg>
      </pc:sldChg>
      <pc:sldChg chg="addSp delSp modSp mod ord modClrScheme chgLayout">
        <pc:chgData name="Cecilia Wihlborg" userId="5b2bd2d0-8a6b-438d-83bd-1642f56c3aab" providerId="ADAL" clId="{1779BC13-CF79-4198-9CE4-D0F756422C6D}" dt="2026-05-06T09:31:30.413" v="2384" actId="790"/>
        <pc:sldMkLst>
          <pc:docMk/>
          <pc:sldMk cId="3535693555" sldId="522"/>
        </pc:sldMkLst>
        <pc:spChg chg="mod ord">
          <ac:chgData name="Cecilia Wihlborg" userId="5b2bd2d0-8a6b-438d-83bd-1642f56c3aab" providerId="ADAL" clId="{1779BC13-CF79-4198-9CE4-D0F756422C6D}" dt="2026-05-06T09:31:30.413" v="2384" actId="790"/>
          <ac:spMkLst>
            <pc:docMk/>
            <pc:sldMk cId="3535693555" sldId="522"/>
            <ac:spMk id="2" creationId="{B17548E5-8242-9348-A22D-C10E146BFEA0}"/>
          </ac:spMkLst>
        </pc:spChg>
        <pc:graphicFrameChg chg="add mod modGraphic">
          <ac:chgData name="Cecilia Wihlborg" userId="5b2bd2d0-8a6b-438d-83bd-1642f56c3aab" providerId="ADAL" clId="{1779BC13-CF79-4198-9CE4-D0F756422C6D}" dt="2026-05-06T09:31:30.413" v="2384" actId="790"/>
          <ac:graphicFrameMkLst>
            <pc:docMk/>
            <pc:sldMk cId="3535693555" sldId="522"/>
            <ac:graphicFrameMk id="5" creationId="{17F18AFF-40D4-B2BB-0497-1A2536C4C4D8}"/>
          </ac:graphicFrameMkLst>
        </pc:graphicFrameChg>
      </pc:sldChg>
      <pc:sldChg chg="addSp modSp mod ord modClrScheme chgLayout">
        <pc:chgData name="Cecilia Wihlborg" userId="5b2bd2d0-8a6b-438d-83bd-1642f56c3aab" providerId="ADAL" clId="{1779BC13-CF79-4198-9CE4-D0F756422C6D}" dt="2026-05-06T09:31:30.413" v="2384" actId="790"/>
        <pc:sldMkLst>
          <pc:docMk/>
          <pc:sldMk cId="1839736664" sldId="523"/>
        </pc:sldMkLst>
        <pc:spChg chg="mod">
          <ac:chgData name="Cecilia Wihlborg" userId="5b2bd2d0-8a6b-438d-83bd-1642f56c3aab" providerId="ADAL" clId="{1779BC13-CF79-4198-9CE4-D0F756422C6D}" dt="2026-05-06T09:31:30.413" v="2384" actId="790"/>
          <ac:spMkLst>
            <pc:docMk/>
            <pc:sldMk cId="1839736664" sldId="523"/>
            <ac:spMk id="2" creationId="{70830C01-6774-7D38-F195-308AB44F7C3E}"/>
          </ac:spMkLst>
        </pc:spChg>
        <pc:spChg chg="mod">
          <ac:chgData name="Cecilia Wihlborg" userId="5b2bd2d0-8a6b-438d-83bd-1642f56c3aab" providerId="ADAL" clId="{1779BC13-CF79-4198-9CE4-D0F756422C6D}" dt="2026-05-06T09:31:30.413" v="2384" actId="790"/>
          <ac:spMkLst>
            <pc:docMk/>
            <pc:sldMk cId="1839736664" sldId="523"/>
            <ac:spMk id="3" creationId="{62A132EA-64BB-BA8D-3D38-4BCD9DE635A1}"/>
          </ac:spMkLst>
        </pc:spChg>
        <pc:spChg chg="add mod">
          <ac:chgData name="Cecilia Wihlborg" userId="5b2bd2d0-8a6b-438d-83bd-1642f56c3aab" providerId="ADAL" clId="{1779BC13-CF79-4198-9CE4-D0F756422C6D}" dt="2026-05-06T09:31:30.413" v="2384" actId="790"/>
          <ac:spMkLst>
            <pc:docMk/>
            <pc:sldMk cId="1839736664" sldId="523"/>
            <ac:spMk id="9" creationId="{8F144E85-6A14-C6E6-8DB2-DA0BE37766F3}"/>
          </ac:spMkLst>
        </pc:spChg>
        <pc:picChg chg="add">
          <ac:chgData name="Cecilia Wihlborg" userId="5b2bd2d0-8a6b-438d-83bd-1642f56c3aab" providerId="ADAL" clId="{1779BC13-CF79-4198-9CE4-D0F756422C6D}" dt="2026-04-30T08:47:51.403" v="1019" actId="26606"/>
          <ac:picMkLst>
            <pc:docMk/>
            <pc:sldMk cId="1839736664" sldId="523"/>
            <ac:picMk id="5" creationId="{BC6673E6-FEB6-B5F7-253A-A067FA80B55F}"/>
          </ac:picMkLst>
        </pc:picChg>
      </pc:sldChg>
      <pc:sldChg chg="addSp delSp modSp new mod modClrScheme chgLayout">
        <pc:chgData name="Cecilia Wihlborg" userId="5b2bd2d0-8a6b-438d-83bd-1642f56c3aab" providerId="ADAL" clId="{1779BC13-CF79-4198-9CE4-D0F756422C6D}" dt="2026-05-06T09:31:34.757" v="2385" actId="313"/>
        <pc:sldMkLst>
          <pc:docMk/>
          <pc:sldMk cId="708180113" sldId="526"/>
        </pc:sldMkLst>
        <pc:spChg chg="mod ord">
          <ac:chgData name="Cecilia Wihlborg" userId="5b2bd2d0-8a6b-438d-83bd-1642f56c3aab" providerId="ADAL" clId="{1779BC13-CF79-4198-9CE4-D0F756422C6D}" dt="2026-05-06T09:31:30.413" v="2384" actId="790"/>
          <ac:spMkLst>
            <pc:docMk/>
            <pc:sldMk cId="708180113" sldId="526"/>
            <ac:spMk id="2" creationId="{EEE32809-82E4-C98E-9A5E-CA29E307AF6B}"/>
          </ac:spMkLst>
        </pc:spChg>
        <pc:spChg chg="add del mod">
          <ac:chgData name="Cecilia Wihlborg" userId="5b2bd2d0-8a6b-438d-83bd-1642f56c3aab" providerId="ADAL" clId="{1779BC13-CF79-4198-9CE4-D0F756422C6D}" dt="2026-05-05T11:39:42.546" v="1687" actId="6264"/>
          <ac:spMkLst>
            <pc:docMk/>
            <pc:sldMk cId="708180113" sldId="526"/>
            <ac:spMk id="3" creationId="{720195B6-FFE2-5F58-DD50-B462DAF5E3EE}"/>
          </ac:spMkLst>
        </pc:spChg>
        <pc:spChg chg="add del mod">
          <ac:chgData name="Cecilia Wihlborg" userId="5b2bd2d0-8a6b-438d-83bd-1642f56c3aab" providerId="ADAL" clId="{1779BC13-CF79-4198-9CE4-D0F756422C6D}" dt="2026-05-05T11:39:42.546" v="1687" actId="6264"/>
          <ac:spMkLst>
            <pc:docMk/>
            <pc:sldMk cId="708180113" sldId="526"/>
            <ac:spMk id="4" creationId="{3E311153-E47D-A0BA-4BAC-2C1163D49F4B}"/>
          </ac:spMkLst>
        </pc:spChg>
        <pc:spChg chg="add del mod">
          <ac:chgData name="Cecilia Wihlborg" userId="5b2bd2d0-8a6b-438d-83bd-1642f56c3aab" providerId="ADAL" clId="{1779BC13-CF79-4198-9CE4-D0F756422C6D}" dt="2026-05-05T11:39:44.038" v="1688" actId="6264"/>
          <ac:spMkLst>
            <pc:docMk/>
            <pc:sldMk cId="708180113" sldId="526"/>
            <ac:spMk id="5" creationId="{990DEFCB-110B-94EF-AD07-7DFC13885524}"/>
          </ac:spMkLst>
        </pc:spChg>
        <pc:spChg chg="add del mod">
          <ac:chgData name="Cecilia Wihlborg" userId="5b2bd2d0-8a6b-438d-83bd-1642f56c3aab" providerId="ADAL" clId="{1779BC13-CF79-4198-9CE4-D0F756422C6D}" dt="2026-05-05T11:39:44.038" v="1688" actId="6264"/>
          <ac:spMkLst>
            <pc:docMk/>
            <pc:sldMk cId="708180113" sldId="526"/>
            <ac:spMk id="6" creationId="{709F24FF-917B-5250-396A-0AD54C7CF3FA}"/>
          </ac:spMkLst>
        </pc:spChg>
        <pc:spChg chg="add del mod ord">
          <ac:chgData name="Cecilia Wihlborg" userId="5b2bd2d0-8a6b-438d-83bd-1642f56c3aab" providerId="ADAL" clId="{1779BC13-CF79-4198-9CE4-D0F756422C6D}" dt="2026-05-05T11:39:55.608" v="1690" actId="26606"/>
          <ac:spMkLst>
            <pc:docMk/>
            <pc:sldMk cId="708180113" sldId="526"/>
            <ac:spMk id="8" creationId="{281C6405-F61F-05A8-8594-88AE3A0D8B77}"/>
          </ac:spMkLst>
        </pc:spChg>
        <pc:graphicFrameChg chg="add mod ord modGraphic">
          <ac:chgData name="Cecilia Wihlborg" userId="5b2bd2d0-8a6b-438d-83bd-1642f56c3aab" providerId="ADAL" clId="{1779BC13-CF79-4198-9CE4-D0F756422C6D}" dt="2026-05-06T09:31:34.757" v="2385" actId="313"/>
          <ac:graphicFrameMkLst>
            <pc:docMk/>
            <pc:sldMk cId="708180113" sldId="526"/>
            <ac:graphicFrameMk id="7" creationId="{89EA177C-B8C1-A2E9-54E7-5D516CC43D6E}"/>
          </ac:graphicFrameMkLst>
        </pc:graphicFrameChg>
      </pc:sldChg>
      <pc:sldChg chg="addSp delSp modSp new mod ord modMedia modClrScheme delAnim chgLayout">
        <pc:chgData name="Cecilia Wihlborg" userId="5b2bd2d0-8a6b-438d-83bd-1642f56c3aab" providerId="ADAL" clId="{1779BC13-CF79-4198-9CE4-D0F756422C6D}" dt="2026-05-06T09:31:30.413" v="2384" actId="790"/>
        <pc:sldMkLst>
          <pc:docMk/>
          <pc:sldMk cId="337840504" sldId="527"/>
        </pc:sldMkLst>
        <pc:spChg chg="mod ord">
          <ac:chgData name="Cecilia Wihlborg" userId="5b2bd2d0-8a6b-438d-83bd-1642f56c3aab" providerId="ADAL" clId="{1779BC13-CF79-4198-9CE4-D0F756422C6D}" dt="2026-05-06T09:31:30.413" v="2384" actId="790"/>
          <ac:spMkLst>
            <pc:docMk/>
            <pc:sldMk cId="337840504" sldId="527"/>
            <ac:spMk id="2" creationId="{A4E5572A-A769-A55D-0665-CB0637963E86}"/>
          </ac:spMkLst>
        </pc:spChg>
        <pc:spChg chg="mod ord">
          <ac:chgData name="Cecilia Wihlborg" userId="5b2bd2d0-8a6b-438d-83bd-1642f56c3aab" providerId="ADAL" clId="{1779BC13-CF79-4198-9CE4-D0F756422C6D}" dt="2026-05-06T09:31:30.413" v="2384" actId="790"/>
          <ac:spMkLst>
            <pc:docMk/>
            <pc:sldMk cId="337840504" sldId="527"/>
            <ac:spMk id="3" creationId="{5C3F8A12-AF3B-CFF7-00E2-E41910CFA64E}"/>
          </ac:spMkLst>
        </pc:spChg>
        <pc:spChg chg="add mod ord">
          <ac:chgData name="Cecilia Wihlborg" userId="5b2bd2d0-8a6b-438d-83bd-1642f56c3aab" providerId="ADAL" clId="{1779BC13-CF79-4198-9CE4-D0F756422C6D}" dt="2026-05-06T09:31:30.413" v="2384" actId="790"/>
          <ac:spMkLst>
            <pc:docMk/>
            <pc:sldMk cId="337840504" sldId="527"/>
            <ac:spMk id="5" creationId="{7C8CC105-D4D8-7C0C-0EB1-4555A390EF38}"/>
          </ac:spMkLst>
        </pc:spChg>
        <pc:picChg chg="add mod ord">
          <ac:chgData name="Cecilia Wihlborg" userId="5b2bd2d0-8a6b-438d-83bd-1642f56c3aab" providerId="ADAL" clId="{1779BC13-CF79-4198-9CE4-D0F756422C6D}" dt="2026-04-30T09:56:43.899" v="1283" actId="22"/>
          <ac:picMkLst>
            <pc:docMk/>
            <pc:sldMk cId="337840504" sldId="527"/>
            <ac:picMk id="7" creationId="{59622376-0918-C14B-1A4D-EA6E424789D3}"/>
          </ac:picMkLst>
        </pc:picChg>
      </pc:sldChg>
      <pc:sldChg chg="modSp add mod ord">
        <pc:chgData name="Cecilia Wihlborg" userId="5b2bd2d0-8a6b-438d-83bd-1642f56c3aab" providerId="ADAL" clId="{1779BC13-CF79-4198-9CE4-D0F756422C6D}" dt="2026-05-06T09:31:30.413" v="2384" actId="790"/>
        <pc:sldMkLst>
          <pc:docMk/>
          <pc:sldMk cId="3851811501" sldId="590"/>
        </pc:sldMkLst>
        <pc:spChg chg="mod">
          <ac:chgData name="Cecilia Wihlborg" userId="5b2bd2d0-8a6b-438d-83bd-1642f56c3aab" providerId="ADAL" clId="{1779BC13-CF79-4198-9CE4-D0F756422C6D}" dt="2026-05-06T09:31:30.413" v="2384" actId="790"/>
          <ac:spMkLst>
            <pc:docMk/>
            <pc:sldMk cId="3851811501" sldId="590"/>
            <ac:spMk id="5" creationId="{CF1BFE18-5430-64A5-A48F-2D6B36C43FD9}"/>
          </ac:spMkLst>
        </pc:spChg>
        <pc:spChg chg="mod">
          <ac:chgData name="Cecilia Wihlborg" userId="5b2bd2d0-8a6b-438d-83bd-1642f56c3aab" providerId="ADAL" clId="{1779BC13-CF79-4198-9CE4-D0F756422C6D}" dt="2026-05-06T09:31:30.413" v="2384" actId="790"/>
          <ac:spMkLst>
            <pc:docMk/>
            <pc:sldMk cId="3851811501" sldId="590"/>
            <ac:spMk id="10" creationId="{C9315E31-4C12-6153-DF75-0C378ACD3411}"/>
          </ac:spMkLst>
        </pc:spChg>
        <pc:spChg chg="mod">
          <ac:chgData name="Cecilia Wihlborg" userId="5b2bd2d0-8a6b-438d-83bd-1642f56c3aab" providerId="ADAL" clId="{1779BC13-CF79-4198-9CE4-D0F756422C6D}" dt="2026-05-06T09:31:30.413" v="2384" actId="790"/>
          <ac:spMkLst>
            <pc:docMk/>
            <pc:sldMk cId="3851811501" sldId="590"/>
            <ac:spMk id="12" creationId="{69DEFBE1-1745-4617-8BB6-88BC6B8A1DED}"/>
          </ac:spMkLst>
        </pc:spChg>
      </pc:sldChg>
      <pc:sldChg chg="addSp delSp modSp new mod ord">
        <pc:chgData name="Cecilia Wihlborg" userId="5b2bd2d0-8a6b-438d-83bd-1642f56c3aab" providerId="ADAL" clId="{1779BC13-CF79-4198-9CE4-D0F756422C6D}" dt="2026-05-06T09:31:30.413" v="2384" actId="790"/>
        <pc:sldMkLst>
          <pc:docMk/>
          <pc:sldMk cId="2740185476" sldId="591"/>
        </pc:sldMkLst>
        <pc:spChg chg="mod">
          <ac:chgData name="Cecilia Wihlborg" userId="5b2bd2d0-8a6b-438d-83bd-1642f56c3aab" providerId="ADAL" clId="{1779BC13-CF79-4198-9CE4-D0F756422C6D}" dt="2026-05-06T09:31:30.413" v="2384" actId="790"/>
          <ac:spMkLst>
            <pc:docMk/>
            <pc:sldMk cId="2740185476" sldId="591"/>
            <ac:spMk id="2" creationId="{2006D14C-A76C-D2D7-B78C-D10A0EFB9637}"/>
          </ac:spMkLst>
        </pc:spChg>
        <pc:graphicFrameChg chg="add mod ord modGraphic">
          <ac:chgData name="Cecilia Wihlborg" userId="5b2bd2d0-8a6b-438d-83bd-1642f56c3aab" providerId="ADAL" clId="{1779BC13-CF79-4198-9CE4-D0F756422C6D}" dt="2026-05-06T09:31:30.413" v="2384" actId="790"/>
          <ac:graphicFrameMkLst>
            <pc:docMk/>
            <pc:sldMk cId="2740185476" sldId="591"/>
            <ac:graphicFrameMk id="4" creationId="{FE464645-EBE7-06F6-A335-AD52037952AA}"/>
          </ac:graphicFrameMkLst>
        </pc:graphicFrameChg>
      </pc:sldChg>
      <pc:sldChg chg="addSp delSp modSp new mod ord modMedia modClrScheme delAnim chgLayout">
        <pc:chgData name="Cecilia Wihlborg" userId="5b2bd2d0-8a6b-438d-83bd-1642f56c3aab" providerId="ADAL" clId="{1779BC13-CF79-4198-9CE4-D0F756422C6D}" dt="2026-05-06T09:31:30.413" v="2384" actId="790"/>
        <pc:sldMkLst>
          <pc:docMk/>
          <pc:sldMk cId="1361461299" sldId="592"/>
        </pc:sldMkLst>
        <pc:spChg chg="mod ord">
          <ac:chgData name="Cecilia Wihlborg" userId="5b2bd2d0-8a6b-438d-83bd-1642f56c3aab" providerId="ADAL" clId="{1779BC13-CF79-4198-9CE4-D0F756422C6D}" dt="2026-05-06T09:31:30.413" v="2384" actId="790"/>
          <ac:spMkLst>
            <pc:docMk/>
            <pc:sldMk cId="1361461299" sldId="592"/>
            <ac:spMk id="2" creationId="{514E9C8F-854C-7BA1-FE4D-A767E2D8BFDB}"/>
          </ac:spMkLst>
        </pc:spChg>
        <pc:graphicFrameChg chg="add mod modGraphic">
          <ac:chgData name="Cecilia Wihlborg" userId="5b2bd2d0-8a6b-438d-83bd-1642f56c3aab" providerId="ADAL" clId="{1779BC13-CF79-4198-9CE4-D0F756422C6D}" dt="2026-05-06T09:31:30.413" v="2384" actId="790"/>
          <ac:graphicFrameMkLst>
            <pc:docMk/>
            <pc:sldMk cId="1361461299" sldId="592"/>
            <ac:graphicFrameMk id="13" creationId="{EC5167BB-333D-DC0A-B59F-5F0044666F19}"/>
          </ac:graphicFrameMkLst>
        </pc:graphicFrameChg>
      </pc:sldChg>
      <pc:sldChg chg="addSp delSp modSp new mod modClrScheme chgLayout">
        <pc:chgData name="Cecilia Wihlborg" userId="5b2bd2d0-8a6b-438d-83bd-1642f56c3aab" providerId="ADAL" clId="{1779BC13-CF79-4198-9CE4-D0F756422C6D}" dt="2026-05-06T09:31:30.413" v="2384" actId="790"/>
        <pc:sldMkLst>
          <pc:docMk/>
          <pc:sldMk cId="3145710143" sldId="593"/>
        </pc:sldMkLst>
        <pc:spChg chg="mod">
          <ac:chgData name="Cecilia Wihlborg" userId="5b2bd2d0-8a6b-438d-83bd-1642f56c3aab" providerId="ADAL" clId="{1779BC13-CF79-4198-9CE4-D0F756422C6D}" dt="2026-05-06T09:31:30.413" v="2384" actId="790"/>
          <ac:spMkLst>
            <pc:docMk/>
            <pc:sldMk cId="3145710143" sldId="593"/>
            <ac:spMk id="2" creationId="{919D8028-144D-CE1F-D1FB-C1F7A19A9E83}"/>
          </ac:spMkLst>
        </pc:spChg>
        <pc:spChg chg="mod">
          <ac:chgData name="Cecilia Wihlborg" userId="5b2bd2d0-8a6b-438d-83bd-1642f56c3aab" providerId="ADAL" clId="{1779BC13-CF79-4198-9CE4-D0F756422C6D}" dt="2026-05-06T09:31:30.413" v="2384" actId="790"/>
          <ac:spMkLst>
            <pc:docMk/>
            <pc:sldMk cId="3145710143" sldId="593"/>
            <ac:spMk id="3" creationId="{98AD1262-949E-8277-7B08-BADEA5097D4A}"/>
          </ac:spMkLst>
        </pc:spChg>
        <pc:spChg chg="add mod">
          <ac:chgData name="Cecilia Wihlborg" userId="5b2bd2d0-8a6b-438d-83bd-1642f56c3aab" providerId="ADAL" clId="{1779BC13-CF79-4198-9CE4-D0F756422C6D}" dt="2026-05-06T09:31:30.413" v="2384" actId="790"/>
          <ac:spMkLst>
            <pc:docMk/>
            <pc:sldMk cId="3145710143" sldId="593"/>
            <ac:spMk id="10" creationId="{F721B909-7F58-5CB6-4D68-EFB1635CBF24}"/>
          </ac:spMkLst>
        </pc:spChg>
        <pc:picChg chg="add mod ord">
          <ac:chgData name="Cecilia Wihlborg" userId="5b2bd2d0-8a6b-438d-83bd-1642f56c3aab" providerId="ADAL" clId="{1779BC13-CF79-4198-9CE4-D0F756422C6D}" dt="2026-04-30T09:59:54.301" v="1321" actId="22"/>
          <ac:picMkLst>
            <pc:docMk/>
            <pc:sldMk cId="3145710143" sldId="593"/>
            <ac:picMk id="5" creationId="{0F14B87F-26B0-9C2C-05A3-8C868D9D21CD}"/>
          </ac:picMkLst>
        </pc:picChg>
      </pc:sldChg>
      <pc:sldChg chg="addSp delSp modSp new mod modClrScheme chgLayout">
        <pc:chgData name="Cecilia Wihlborg" userId="5b2bd2d0-8a6b-438d-83bd-1642f56c3aab" providerId="ADAL" clId="{1779BC13-CF79-4198-9CE4-D0F756422C6D}" dt="2026-05-06T09:31:30.413" v="2384" actId="790"/>
        <pc:sldMkLst>
          <pc:docMk/>
          <pc:sldMk cId="2311958776" sldId="594"/>
        </pc:sldMkLst>
        <pc:spChg chg="mod ord">
          <ac:chgData name="Cecilia Wihlborg" userId="5b2bd2d0-8a6b-438d-83bd-1642f56c3aab" providerId="ADAL" clId="{1779BC13-CF79-4198-9CE4-D0F756422C6D}" dt="2026-05-06T09:31:30.413" v="2384" actId="790"/>
          <ac:spMkLst>
            <pc:docMk/>
            <pc:sldMk cId="2311958776" sldId="594"/>
            <ac:spMk id="3" creationId="{CF2C39CF-8454-5C5D-4E61-A4E0935913D3}"/>
          </ac:spMkLst>
        </pc:spChg>
      </pc:sldChg>
      <pc:sldChg chg="addSp delSp modSp new mod modClrScheme chgLayout">
        <pc:chgData name="Cecilia Wihlborg" userId="5b2bd2d0-8a6b-438d-83bd-1642f56c3aab" providerId="ADAL" clId="{1779BC13-CF79-4198-9CE4-D0F756422C6D}" dt="2026-05-06T09:31:30.413" v="2384" actId="790"/>
        <pc:sldMkLst>
          <pc:docMk/>
          <pc:sldMk cId="3030123663" sldId="595"/>
        </pc:sldMkLst>
        <pc:spChg chg="mod ord">
          <ac:chgData name="Cecilia Wihlborg" userId="5b2bd2d0-8a6b-438d-83bd-1642f56c3aab" providerId="ADAL" clId="{1779BC13-CF79-4198-9CE4-D0F756422C6D}" dt="2026-05-06T09:31:30.413" v="2384" actId="790"/>
          <ac:spMkLst>
            <pc:docMk/>
            <pc:sldMk cId="3030123663" sldId="595"/>
            <ac:spMk id="3" creationId="{8EA13E51-67DC-C3B1-1561-7AA26CA92A5E}"/>
          </ac:spMkLst>
        </pc:spChg>
        <pc:spChg chg="add mod ord">
          <ac:chgData name="Cecilia Wihlborg" userId="5b2bd2d0-8a6b-438d-83bd-1642f56c3aab" providerId="ADAL" clId="{1779BC13-CF79-4198-9CE4-D0F756422C6D}" dt="2026-05-06T09:31:30.413" v="2384" actId="790"/>
          <ac:spMkLst>
            <pc:docMk/>
            <pc:sldMk cId="3030123663" sldId="595"/>
            <ac:spMk id="4" creationId="{26912D7A-85C2-AA2E-512F-1589BB5B295B}"/>
          </ac:spMkLst>
        </pc:spChg>
        <pc:spChg chg="add mod">
          <ac:chgData name="Cecilia Wihlborg" userId="5b2bd2d0-8a6b-438d-83bd-1642f56c3aab" providerId="ADAL" clId="{1779BC13-CF79-4198-9CE4-D0F756422C6D}" dt="2026-05-06T09:31:30.413" v="2384" actId="790"/>
          <ac:spMkLst>
            <pc:docMk/>
            <pc:sldMk cId="3030123663" sldId="595"/>
            <ac:spMk id="31" creationId="{4D0E9AA2-64B2-6854-A668-422C19BC9932}"/>
          </ac:spMkLst>
        </pc:spChg>
        <pc:picChg chg="add mod ord">
          <ac:chgData name="Cecilia Wihlborg" userId="5b2bd2d0-8a6b-438d-83bd-1642f56c3aab" providerId="ADAL" clId="{1779BC13-CF79-4198-9CE4-D0F756422C6D}" dt="2026-05-04T09:14:39.755" v="1568" actId="26606"/>
          <ac:picMkLst>
            <pc:docMk/>
            <pc:sldMk cId="3030123663" sldId="595"/>
            <ac:picMk id="24" creationId="{2CA4F415-C821-E38C-64F2-0141F6C90DEC}"/>
          </ac:picMkLst>
        </pc:picChg>
      </pc:sldChg>
      <pc:sldChg chg="addSp delSp modSp new mod ord modClrScheme chgLayout">
        <pc:chgData name="Cecilia Wihlborg" userId="5b2bd2d0-8a6b-438d-83bd-1642f56c3aab" providerId="ADAL" clId="{1779BC13-CF79-4198-9CE4-D0F756422C6D}" dt="2026-05-06T09:31:30.413" v="2384" actId="790"/>
        <pc:sldMkLst>
          <pc:docMk/>
          <pc:sldMk cId="809016020" sldId="596"/>
        </pc:sldMkLst>
        <pc:spChg chg="del">
          <ac:chgData name="Cecilia Wihlborg" userId="5b2bd2d0-8a6b-438d-83bd-1642f56c3aab" providerId="ADAL" clId="{1779BC13-CF79-4198-9CE4-D0F756422C6D}" dt="2026-05-05T08:09:36.140" v="1598" actId="700"/>
          <ac:spMkLst>
            <pc:docMk/>
            <pc:sldMk cId="809016020" sldId="596"/>
            <ac:spMk id="2" creationId="{495123A5-AA32-D54B-B6A1-2BC3ED3392DC}"/>
          </ac:spMkLst>
        </pc:spChg>
        <pc:spChg chg="del mod ord">
          <ac:chgData name="Cecilia Wihlborg" userId="5b2bd2d0-8a6b-438d-83bd-1642f56c3aab" providerId="ADAL" clId="{1779BC13-CF79-4198-9CE4-D0F756422C6D}" dt="2026-05-05T08:09:36.140" v="1598" actId="700"/>
          <ac:spMkLst>
            <pc:docMk/>
            <pc:sldMk cId="809016020" sldId="596"/>
            <ac:spMk id="3" creationId="{717183D1-0223-C3CE-46D7-1DBE31AFEBC6}"/>
          </ac:spMkLst>
        </pc:spChg>
        <pc:spChg chg="del mod ord">
          <ac:chgData name="Cecilia Wihlborg" userId="5b2bd2d0-8a6b-438d-83bd-1642f56c3aab" providerId="ADAL" clId="{1779BC13-CF79-4198-9CE4-D0F756422C6D}" dt="2026-05-05T08:09:36.140" v="1598" actId="700"/>
          <ac:spMkLst>
            <pc:docMk/>
            <pc:sldMk cId="809016020" sldId="596"/>
            <ac:spMk id="4" creationId="{CA63FAFE-045D-6C1D-9E4C-4C3B2540A3FC}"/>
          </ac:spMkLst>
        </pc:spChg>
        <pc:spChg chg="del">
          <ac:chgData name="Cecilia Wihlborg" userId="5b2bd2d0-8a6b-438d-83bd-1642f56c3aab" providerId="ADAL" clId="{1779BC13-CF79-4198-9CE4-D0F756422C6D}" dt="2026-05-05T08:09:36.140" v="1598" actId="700"/>
          <ac:spMkLst>
            <pc:docMk/>
            <pc:sldMk cId="809016020" sldId="596"/>
            <ac:spMk id="5" creationId="{6D75861B-0CE9-B0B2-66FD-6DB66CF03ADC}"/>
          </ac:spMkLst>
        </pc:spChg>
        <pc:spChg chg="add mod ord">
          <ac:chgData name="Cecilia Wihlborg" userId="5b2bd2d0-8a6b-438d-83bd-1642f56c3aab" providerId="ADAL" clId="{1779BC13-CF79-4198-9CE4-D0F756422C6D}" dt="2026-05-06T09:31:30.413" v="2384" actId="790"/>
          <ac:spMkLst>
            <pc:docMk/>
            <pc:sldMk cId="809016020" sldId="596"/>
            <ac:spMk id="6" creationId="{0099E4A8-C00F-3796-457C-350E3BB45528}"/>
          </ac:spMkLst>
        </pc:spChg>
        <pc:spChg chg="add mod ord">
          <ac:chgData name="Cecilia Wihlborg" userId="5b2bd2d0-8a6b-438d-83bd-1642f56c3aab" providerId="ADAL" clId="{1779BC13-CF79-4198-9CE4-D0F756422C6D}" dt="2026-05-06T09:31:30.413" v="2384" actId="790"/>
          <ac:spMkLst>
            <pc:docMk/>
            <pc:sldMk cId="809016020" sldId="596"/>
            <ac:spMk id="7" creationId="{145DE4FD-9824-8265-C59D-0EAC2D3AD184}"/>
          </ac:spMkLst>
        </pc:spChg>
      </pc:sldChg>
      <pc:sldChg chg="addSp delSp modSp new mod ord modClrScheme chgLayout">
        <pc:chgData name="Cecilia Wihlborg" userId="5b2bd2d0-8a6b-438d-83bd-1642f56c3aab" providerId="ADAL" clId="{1779BC13-CF79-4198-9CE4-D0F756422C6D}" dt="2026-05-06T09:32:12.020" v="2389" actId="27636"/>
        <pc:sldMkLst>
          <pc:docMk/>
          <pc:sldMk cId="623197047" sldId="597"/>
        </pc:sldMkLst>
        <pc:spChg chg="mod ord">
          <ac:chgData name="Cecilia Wihlborg" userId="5b2bd2d0-8a6b-438d-83bd-1642f56c3aab" providerId="ADAL" clId="{1779BC13-CF79-4198-9CE4-D0F756422C6D}" dt="2026-05-06T09:31:30.413" v="2384" actId="790"/>
          <ac:spMkLst>
            <pc:docMk/>
            <pc:sldMk cId="623197047" sldId="597"/>
            <ac:spMk id="2" creationId="{5445DCEB-E034-A56B-EB73-8AD49163D047}"/>
          </ac:spMkLst>
        </pc:spChg>
        <pc:spChg chg="del mod ord">
          <ac:chgData name="Cecilia Wihlborg" userId="5b2bd2d0-8a6b-438d-83bd-1642f56c3aab" providerId="ADAL" clId="{1779BC13-CF79-4198-9CE4-D0F756422C6D}" dt="2026-05-05T11:44:38.360" v="1772" actId="700"/>
          <ac:spMkLst>
            <pc:docMk/>
            <pc:sldMk cId="623197047" sldId="597"/>
            <ac:spMk id="3" creationId="{2B9FC29A-99CB-A47E-C1C9-188C5CB29390}"/>
          </ac:spMkLst>
        </pc:spChg>
        <pc:spChg chg="add mod ord">
          <ac:chgData name="Cecilia Wihlborg" userId="5b2bd2d0-8a6b-438d-83bd-1642f56c3aab" providerId="ADAL" clId="{1779BC13-CF79-4198-9CE4-D0F756422C6D}" dt="2026-05-06T09:32:12.020" v="2389" actId="27636"/>
          <ac:spMkLst>
            <pc:docMk/>
            <pc:sldMk cId="623197047" sldId="597"/>
            <ac:spMk id="4" creationId="{3115F71F-8188-637F-9888-DF48E6664089}"/>
          </ac:spMkLst>
        </pc:spChg>
        <pc:spChg chg="add del mod ord">
          <ac:chgData name="Cecilia Wihlborg" userId="5b2bd2d0-8a6b-438d-83bd-1642f56c3aab" providerId="ADAL" clId="{1779BC13-CF79-4198-9CE4-D0F756422C6D}" dt="2026-05-05T11:48:32.438" v="2217" actId="26606"/>
          <ac:spMkLst>
            <pc:docMk/>
            <pc:sldMk cId="623197047" sldId="597"/>
            <ac:spMk id="5" creationId="{64F3C548-B3CE-61C1-48AE-B27D8FA5691B}"/>
          </ac:spMkLst>
        </pc:spChg>
        <pc:spChg chg="add del mod ord">
          <ac:chgData name="Cecilia Wihlborg" userId="5b2bd2d0-8a6b-438d-83bd-1642f56c3aab" providerId="ADAL" clId="{1779BC13-CF79-4198-9CE4-D0F756422C6D}" dt="2026-05-05T11:48:32.438" v="2217" actId="26606"/>
          <ac:spMkLst>
            <pc:docMk/>
            <pc:sldMk cId="623197047" sldId="597"/>
            <ac:spMk id="6" creationId="{C731E42C-06F5-FC1E-6F09-2452D52D4084}"/>
          </ac:spMkLst>
        </pc:spChg>
        <pc:spChg chg="add del mod">
          <ac:chgData name="Cecilia Wihlborg" userId="5b2bd2d0-8a6b-438d-83bd-1642f56c3aab" providerId="ADAL" clId="{1779BC13-CF79-4198-9CE4-D0F756422C6D}" dt="2026-05-05T12:10:18.228" v="2218" actId="22"/>
          <ac:spMkLst>
            <pc:docMk/>
            <pc:sldMk cId="623197047" sldId="597"/>
            <ac:spMk id="11" creationId="{CC570DA2-76A9-ED51-9020-86191EA0AF9B}"/>
          </ac:spMkLst>
        </pc:spChg>
        <pc:spChg chg="add del mod">
          <ac:chgData name="Cecilia Wihlborg" userId="5b2bd2d0-8a6b-438d-83bd-1642f56c3aab" providerId="ADAL" clId="{1779BC13-CF79-4198-9CE4-D0F756422C6D}" dt="2026-05-05T12:12:18.660" v="2231" actId="26606"/>
          <ac:spMkLst>
            <pc:docMk/>
            <pc:sldMk cId="623197047" sldId="597"/>
            <ac:spMk id="13" creationId="{86B5BEBC-E565-695B-1594-61935F836DAF}"/>
          </ac:spMkLst>
        </pc:spChg>
        <pc:picChg chg="add mod ord">
          <ac:chgData name="Cecilia Wihlborg" userId="5b2bd2d0-8a6b-438d-83bd-1642f56c3aab" providerId="ADAL" clId="{1779BC13-CF79-4198-9CE4-D0F756422C6D}" dt="2026-05-05T12:12:18.660" v="2231" actId="26606"/>
          <ac:picMkLst>
            <pc:docMk/>
            <pc:sldMk cId="623197047" sldId="597"/>
            <ac:picMk id="8" creationId="{1F99589F-5261-3E94-4E22-9809B31BEF58}"/>
          </ac:picMkLst>
        </pc:picChg>
      </pc:sldChg>
      <pc:sldChg chg="addSp delSp modSp new mod modMedia modClrScheme delAnim chgLayout">
        <pc:chgData name="Cecilia Wihlborg" userId="5b2bd2d0-8a6b-438d-83bd-1642f56c3aab" providerId="ADAL" clId="{1779BC13-CF79-4198-9CE4-D0F756422C6D}" dt="2026-05-06T09:31:30.413" v="2384" actId="790"/>
        <pc:sldMkLst>
          <pc:docMk/>
          <pc:sldMk cId="3908904574" sldId="598"/>
        </pc:sldMkLst>
        <pc:spChg chg="mod ord">
          <ac:chgData name="Cecilia Wihlborg" userId="5b2bd2d0-8a6b-438d-83bd-1642f56c3aab" providerId="ADAL" clId="{1779BC13-CF79-4198-9CE4-D0F756422C6D}" dt="2026-05-06T09:31:30.413" v="2384" actId="790"/>
          <ac:spMkLst>
            <pc:docMk/>
            <pc:sldMk cId="3908904574" sldId="598"/>
            <ac:spMk id="2" creationId="{3B4ED3A4-96BE-53A8-3B3A-33EF3003CCFF}"/>
          </ac:spMkLst>
        </pc:spChg>
        <pc:spChg chg="mod ord">
          <ac:chgData name="Cecilia Wihlborg" userId="5b2bd2d0-8a6b-438d-83bd-1642f56c3aab" providerId="ADAL" clId="{1779BC13-CF79-4198-9CE4-D0F756422C6D}" dt="2026-05-06T09:31:30.413" v="2384" actId="790"/>
          <ac:spMkLst>
            <pc:docMk/>
            <pc:sldMk cId="3908904574" sldId="598"/>
            <ac:spMk id="3" creationId="{6A7CBB75-9B02-9054-A6B8-0F621820D56A}"/>
          </ac:spMkLst>
        </pc:spChg>
        <pc:spChg chg="add del mod">
          <ac:chgData name="Cecilia Wihlborg" userId="5b2bd2d0-8a6b-438d-83bd-1642f56c3aab" providerId="ADAL" clId="{1779BC13-CF79-4198-9CE4-D0F756422C6D}" dt="2026-05-06T09:29:09.405" v="2371" actId="6264"/>
          <ac:spMkLst>
            <pc:docMk/>
            <pc:sldMk cId="3908904574" sldId="598"/>
            <ac:spMk id="4" creationId="{FB973319-2378-3A26-1023-12A0065B2454}"/>
          </ac:spMkLst>
        </pc:spChg>
        <pc:spChg chg="add del mod">
          <ac:chgData name="Cecilia Wihlborg" userId="5b2bd2d0-8a6b-438d-83bd-1642f56c3aab" providerId="ADAL" clId="{1779BC13-CF79-4198-9CE4-D0F756422C6D}" dt="2026-05-06T09:29:09.405" v="2371" actId="6264"/>
          <ac:spMkLst>
            <pc:docMk/>
            <pc:sldMk cId="3908904574" sldId="598"/>
            <ac:spMk id="5" creationId="{55B5E862-4E22-0C1B-376A-F3E59AA9F508}"/>
          </ac:spMkLst>
        </pc:spChg>
        <pc:spChg chg="add del mod">
          <ac:chgData name="Cecilia Wihlborg" userId="5b2bd2d0-8a6b-438d-83bd-1642f56c3aab" providerId="ADAL" clId="{1779BC13-CF79-4198-9CE4-D0F756422C6D}" dt="2026-05-06T09:29:29.054" v="2374" actId="26606"/>
          <ac:spMkLst>
            <pc:docMk/>
            <pc:sldMk cId="3908904574" sldId="598"/>
            <ac:spMk id="9" creationId="{833BBFD9-71D5-E6DF-988F-EA622F430313}"/>
          </ac:spMkLst>
        </pc:spChg>
        <pc:spChg chg="add del mod">
          <ac:chgData name="Cecilia Wihlborg" userId="5b2bd2d0-8a6b-438d-83bd-1642f56c3aab" providerId="ADAL" clId="{1779BC13-CF79-4198-9CE4-D0F756422C6D}" dt="2026-05-06T09:29:33.790" v="2378" actId="26606"/>
          <ac:spMkLst>
            <pc:docMk/>
            <pc:sldMk cId="3908904574" sldId="598"/>
            <ac:spMk id="12" creationId="{BCC71EE8-F07B-830F-3C69-0FD7CA558831}"/>
          </ac:spMkLst>
        </pc:spChg>
        <pc:spChg chg="add mod">
          <ac:chgData name="Cecilia Wihlborg" userId="5b2bd2d0-8a6b-438d-83bd-1642f56c3aab" providerId="ADAL" clId="{1779BC13-CF79-4198-9CE4-D0F756422C6D}" dt="2026-05-06T09:31:30.413" v="2384" actId="790"/>
          <ac:spMkLst>
            <pc:docMk/>
            <pc:sldMk cId="3908904574" sldId="598"/>
            <ac:spMk id="15" creationId="{833BBFD9-71D5-E6DF-988F-EA622F430313}"/>
          </ac:spMkLst>
        </pc:spChg>
        <pc:picChg chg="add del">
          <ac:chgData name="Cecilia Wihlborg" userId="5b2bd2d0-8a6b-438d-83bd-1642f56c3aab" providerId="ADAL" clId="{1779BC13-CF79-4198-9CE4-D0F756422C6D}" dt="2026-05-06T09:29:29.054" v="2374" actId="26606"/>
          <ac:picMkLst>
            <pc:docMk/>
            <pc:sldMk cId="3908904574" sldId="598"/>
            <ac:picMk id="6" creationId="{C2386331-E736-3DE1-1E11-9B976EBC7501}"/>
          </ac:picMkLst>
        </pc:picChg>
        <pc:picChg chg="add del mod">
          <ac:chgData name="Cecilia Wihlborg" userId="5b2bd2d0-8a6b-438d-83bd-1642f56c3aab" providerId="ADAL" clId="{1779BC13-CF79-4198-9CE4-D0F756422C6D}" dt="2026-05-06T09:29:33.790" v="2378" actId="26606"/>
          <ac:picMkLst>
            <pc:docMk/>
            <pc:sldMk cId="3908904574" sldId="598"/>
            <ac:picMk id="11" creationId="{0733EA0C-078C-9955-616A-484124F050A0}"/>
          </ac:picMkLst>
        </pc:picChg>
        <pc:picChg chg="add">
          <ac:chgData name="Cecilia Wihlborg" userId="5b2bd2d0-8a6b-438d-83bd-1642f56c3aab" providerId="ADAL" clId="{1779BC13-CF79-4198-9CE4-D0F756422C6D}" dt="2026-05-06T09:29:33.822" v="2379" actId="26606"/>
          <ac:picMkLst>
            <pc:docMk/>
            <pc:sldMk cId="3908904574" sldId="598"/>
            <ac:picMk id="14" creationId="{C2386331-E736-3DE1-1E11-9B976EBC7501}"/>
          </ac:picMkLst>
        </pc:picChg>
      </pc:sldChg>
    </pc:docChg>
  </pc:docChgLst>
</pc:chgInfo>
</file>

<file path=ppt/diagrams/_rels/data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image" Target="../media/image6.svg"/></Relationships>
</file>

<file path=ppt/diagrams/_rels/data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image" Target="../media/image11.svg"/></Relationships>
</file>

<file path=ppt/diagrams/_rels/drawing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image" Target="../media/image6.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svg"/><Relationship Id="rId1" Type="http://schemas.openxmlformats.org/officeDocument/2006/relationships/image" Target="../media/image1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746DCE-4274-4A47-9A22-3D71CADA021C}"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C33751C9-1C18-4771-925C-1767977A0763}">
      <dgm:prSet/>
      <dgm:spPr/>
      <dgm:t>
        <a:bodyPr/>
        <a:lstStyle/>
        <a:p>
          <a:r>
            <a:rPr lang="sv-SE" noProof="0" dirty="0"/>
            <a:t>Vi möter samma personer – som ger helt olika resultat beroende på hur insatsen är utformad.</a:t>
          </a:r>
        </a:p>
      </dgm:t>
    </dgm:pt>
    <dgm:pt modelId="{EDF5A6E8-A986-4A26-99AA-152FA0E959AE}" type="parTrans" cxnId="{C913A6EC-40D4-4DCD-8CD9-5023E9818EB6}">
      <dgm:prSet/>
      <dgm:spPr/>
      <dgm:t>
        <a:bodyPr/>
        <a:lstStyle/>
        <a:p>
          <a:endParaRPr lang="en-US"/>
        </a:p>
      </dgm:t>
    </dgm:pt>
    <dgm:pt modelId="{8AAC2691-267A-400E-B93E-AAC3325FD8D4}" type="sibTrans" cxnId="{C913A6EC-40D4-4DCD-8CD9-5023E9818EB6}">
      <dgm:prSet/>
      <dgm:spPr/>
      <dgm:t>
        <a:bodyPr/>
        <a:lstStyle/>
        <a:p>
          <a:endParaRPr lang="en-US"/>
        </a:p>
      </dgm:t>
    </dgm:pt>
    <dgm:pt modelId="{B6F45999-725C-4728-A76E-C4075B66EC2B}">
      <dgm:prSet/>
      <dgm:spPr/>
      <dgm:t>
        <a:bodyPr/>
        <a:lstStyle/>
        <a:p>
          <a:r>
            <a:rPr lang="sv-SE" b="1" noProof="0" dirty="0"/>
            <a:t>10 % → 40 %</a:t>
          </a:r>
          <a:endParaRPr lang="sv-SE" noProof="0" dirty="0"/>
        </a:p>
      </dgm:t>
    </dgm:pt>
    <dgm:pt modelId="{0CF12305-2054-42E1-B60C-87E17748C408}" type="parTrans" cxnId="{EE3B0031-8962-4721-AFAB-DB35109F5F94}">
      <dgm:prSet/>
      <dgm:spPr/>
      <dgm:t>
        <a:bodyPr/>
        <a:lstStyle/>
        <a:p>
          <a:endParaRPr lang="en-US"/>
        </a:p>
      </dgm:t>
    </dgm:pt>
    <dgm:pt modelId="{0611D147-4992-475F-85CC-283BFB81E998}" type="sibTrans" cxnId="{EE3B0031-8962-4721-AFAB-DB35109F5F94}">
      <dgm:prSet/>
      <dgm:spPr/>
      <dgm:t>
        <a:bodyPr/>
        <a:lstStyle/>
        <a:p>
          <a:endParaRPr lang="en-US"/>
        </a:p>
      </dgm:t>
    </dgm:pt>
    <dgm:pt modelId="{B36E5BEA-D760-4B75-A4E1-4F868572AF45}" type="pres">
      <dgm:prSet presAssocID="{E4746DCE-4274-4A47-9A22-3D71CADA021C}" presName="root" presStyleCnt="0">
        <dgm:presLayoutVars>
          <dgm:dir/>
          <dgm:resizeHandles val="exact"/>
        </dgm:presLayoutVars>
      </dgm:prSet>
      <dgm:spPr/>
    </dgm:pt>
    <dgm:pt modelId="{DCFD6AFF-51FB-40EE-956A-C45494A53C1D}" type="pres">
      <dgm:prSet presAssocID="{C33751C9-1C18-4771-925C-1767977A0763}" presName="compNode" presStyleCnt="0"/>
      <dgm:spPr/>
    </dgm:pt>
    <dgm:pt modelId="{928E96BF-16E1-4CC5-95DD-CD9BAB3AE214}" type="pres">
      <dgm:prSet presAssocID="{C33751C9-1C18-4771-925C-1767977A0763}" presName="bgRect" presStyleLbl="bgShp" presStyleIdx="0" presStyleCnt="2"/>
      <dgm:spPr/>
    </dgm:pt>
    <dgm:pt modelId="{CC6B4E78-15E2-4198-81C9-4BF87F68ACF0}" type="pres">
      <dgm:prSet presAssocID="{C33751C9-1C18-4771-925C-1767977A0763}" presName="iconRect" presStyleLbl="node1" presStyleIdx="0"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Medicin"/>
        </a:ext>
      </dgm:extLst>
    </dgm:pt>
    <dgm:pt modelId="{BC07136C-4FBB-435F-B7DE-1A1992C4BCAD}" type="pres">
      <dgm:prSet presAssocID="{C33751C9-1C18-4771-925C-1767977A0763}" presName="spaceRect" presStyleCnt="0"/>
      <dgm:spPr/>
    </dgm:pt>
    <dgm:pt modelId="{53CBFCFC-EC1C-49AE-AF3B-A48EDF225EA8}" type="pres">
      <dgm:prSet presAssocID="{C33751C9-1C18-4771-925C-1767977A0763}" presName="parTx" presStyleLbl="revTx" presStyleIdx="0" presStyleCnt="2">
        <dgm:presLayoutVars>
          <dgm:chMax val="0"/>
          <dgm:chPref val="0"/>
        </dgm:presLayoutVars>
      </dgm:prSet>
      <dgm:spPr/>
    </dgm:pt>
    <dgm:pt modelId="{87334CA4-3413-4B37-A699-FF9359BEFD64}" type="pres">
      <dgm:prSet presAssocID="{8AAC2691-267A-400E-B93E-AAC3325FD8D4}" presName="sibTrans" presStyleCnt="0"/>
      <dgm:spPr/>
    </dgm:pt>
    <dgm:pt modelId="{A1D20811-2E59-42AF-8D25-75512B1DCF3B}" type="pres">
      <dgm:prSet presAssocID="{B6F45999-725C-4728-A76E-C4075B66EC2B}" presName="compNode" presStyleCnt="0"/>
      <dgm:spPr/>
    </dgm:pt>
    <dgm:pt modelId="{8D3A45C7-7A91-43EE-819B-77E4A792B31A}" type="pres">
      <dgm:prSet presAssocID="{B6F45999-725C-4728-A76E-C4075B66EC2B}" presName="bgRect" presStyleLbl="bgShp" presStyleIdx="1" presStyleCnt="2"/>
      <dgm:spPr/>
    </dgm:pt>
    <dgm:pt modelId="{005CBF26-6594-41A9-941A-086F3976BAC0}" type="pres">
      <dgm:prSet presAssocID="{B6F45999-725C-4728-A76E-C4075B66EC2B}" presName="iconRect" presStyleLbl="node1" presStyleIdx="1"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lödesschema"/>
        </a:ext>
      </dgm:extLst>
    </dgm:pt>
    <dgm:pt modelId="{ACA0FF70-892E-4C16-B571-5420CF615715}" type="pres">
      <dgm:prSet presAssocID="{B6F45999-725C-4728-A76E-C4075B66EC2B}" presName="spaceRect" presStyleCnt="0"/>
      <dgm:spPr/>
    </dgm:pt>
    <dgm:pt modelId="{76F2B867-FC46-4ADE-9EC7-C6D2D6C5BD1C}" type="pres">
      <dgm:prSet presAssocID="{B6F45999-725C-4728-A76E-C4075B66EC2B}" presName="parTx" presStyleLbl="revTx" presStyleIdx="1" presStyleCnt="2">
        <dgm:presLayoutVars>
          <dgm:chMax val="0"/>
          <dgm:chPref val="0"/>
        </dgm:presLayoutVars>
      </dgm:prSet>
      <dgm:spPr/>
    </dgm:pt>
  </dgm:ptLst>
  <dgm:cxnLst>
    <dgm:cxn modelId="{E60C3711-FD48-4B02-A813-4B766C289450}" type="presOf" srcId="{E4746DCE-4274-4A47-9A22-3D71CADA021C}" destId="{B36E5BEA-D760-4B75-A4E1-4F868572AF45}" srcOrd="0" destOrd="0" presId="urn:microsoft.com/office/officeart/2018/2/layout/IconVerticalSolidList"/>
    <dgm:cxn modelId="{EE3B0031-8962-4721-AFAB-DB35109F5F94}" srcId="{E4746DCE-4274-4A47-9A22-3D71CADA021C}" destId="{B6F45999-725C-4728-A76E-C4075B66EC2B}" srcOrd="1" destOrd="0" parTransId="{0CF12305-2054-42E1-B60C-87E17748C408}" sibTransId="{0611D147-4992-475F-85CC-283BFB81E998}"/>
    <dgm:cxn modelId="{40EAB753-512D-48AB-AB0A-0754284DD3FA}" type="presOf" srcId="{C33751C9-1C18-4771-925C-1767977A0763}" destId="{53CBFCFC-EC1C-49AE-AF3B-A48EDF225EA8}" srcOrd="0" destOrd="0" presId="urn:microsoft.com/office/officeart/2018/2/layout/IconVerticalSolidList"/>
    <dgm:cxn modelId="{03F48BCA-4FB0-4F03-8B8D-4748787ED180}" type="presOf" srcId="{B6F45999-725C-4728-A76E-C4075B66EC2B}" destId="{76F2B867-FC46-4ADE-9EC7-C6D2D6C5BD1C}" srcOrd="0" destOrd="0" presId="urn:microsoft.com/office/officeart/2018/2/layout/IconVerticalSolidList"/>
    <dgm:cxn modelId="{C913A6EC-40D4-4DCD-8CD9-5023E9818EB6}" srcId="{E4746DCE-4274-4A47-9A22-3D71CADA021C}" destId="{C33751C9-1C18-4771-925C-1767977A0763}" srcOrd="0" destOrd="0" parTransId="{EDF5A6E8-A986-4A26-99AA-152FA0E959AE}" sibTransId="{8AAC2691-267A-400E-B93E-AAC3325FD8D4}"/>
    <dgm:cxn modelId="{B7E06800-B476-4499-B5CE-F13974609E3F}" type="presParOf" srcId="{B36E5BEA-D760-4B75-A4E1-4F868572AF45}" destId="{DCFD6AFF-51FB-40EE-956A-C45494A53C1D}" srcOrd="0" destOrd="0" presId="urn:microsoft.com/office/officeart/2018/2/layout/IconVerticalSolidList"/>
    <dgm:cxn modelId="{F4A1C139-3AAE-401A-99B7-D6652BCF9826}" type="presParOf" srcId="{DCFD6AFF-51FB-40EE-956A-C45494A53C1D}" destId="{928E96BF-16E1-4CC5-95DD-CD9BAB3AE214}" srcOrd="0" destOrd="0" presId="urn:microsoft.com/office/officeart/2018/2/layout/IconVerticalSolidList"/>
    <dgm:cxn modelId="{E69DAB4B-D791-438A-AAA9-C7FED38C1DBC}" type="presParOf" srcId="{DCFD6AFF-51FB-40EE-956A-C45494A53C1D}" destId="{CC6B4E78-15E2-4198-81C9-4BF87F68ACF0}" srcOrd="1" destOrd="0" presId="urn:microsoft.com/office/officeart/2018/2/layout/IconVerticalSolidList"/>
    <dgm:cxn modelId="{7BD0D300-5417-4006-9601-C14A123EB98E}" type="presParOf" srcId="{DCFD6AFF-51FB-40EE-956A-C45494A53C1D}" destId="{BC07136C-4FBB-435F-B7DE-1A1992C4BCAD}" srcOrd="2" destOrd="0" presId="urn:microsoft.com/office/officeart/2018/2/layout/IconVerticalSolidList"/>
    <dgm:cxn modelId="{86649512-6657-48D7-84B2-1FBE705A6450}" type="presParOf" srcId="{DCFD6AFF-51FB-40EE-956A-C45494A53C1D}" destId="{53CBFCFC-EC1C-49AE-AF3B-A48EDF225EA8}" srcOrd="3" destOrd="0" presId="urn:microsoft.com/office/officeart/2018/2/layout/IconVerticalSolidList"/>
    <dgm:cxn modelId="{551D40A1-9BCE-409A-AE70-5CAC5EBFCDF3}" type="presParOf" srcId="{B36E5BEA-D760-4B75-A4E1-4F868572AF45}" destId="{87334CA4-3413-4B37-A699-FF9359BEFD64}" srcOrd="1" destOrd="0" presId="urn:microsoft.com/office/officeart/2018/2/layout/IconVerticalSolidList"/>
    <dgm:cxn modelId="{8BC30F30-0BA0-4B39-8D23-EB18D23138BA}" type="presParOf" srcId="{B36E5BEA-D760-4B75-A4E1-4F868572AF45}" destId="{A1D20811-2E59-42AF-8D25-75512B1DCF3B}" srcOrd="2" destOrd="0" presId="urn:microsoft.com/office/officeart/2018/2/layout/IconVerticalSolidList"/>
    <dgm:cxn modelId="{A5C77B01-D76F-4E8B-BBC2-5193301E1821}" type="presParOf" srcId="{A1D20811-2E59-42AF-8D25-75512B1DCF3B}" destId="{8D3A45C7-7A91-43EE-819B-77E4A792B31A}" srcOrd="0" destOrd="0" presId="urn:microsoft.com/office/officeart/2018/2/layout/IconVerticalSolidList"/>
    <dgm:cxn modelId="{3A4D48A9-675E-49F3-84D5-CC95C8A0A8A2}" type="presParOf" srcId="{A1D20811-2E59-42AF-8D25-75512B1DCF3B}" destId="{005CBF26-6594-41A9-941A-086F3976BAC0}" srcOrd="1" destOrd="0" presId="urn:microsoft.com/office/officeart/2018/2/layout/IconVerticalSolidList"/>
    <dgm:cxn modelId="{EE166E6D-27B9-4702-B6F1-7D639E8235F4}" type="presParOf" srcId="{A1D20811-2E59-42AF-8D25-75512B1DCF3B}" destId="{ACA0FF70-892E-4C16-B571-5420CF615715}" srcOrd="2" destOrd="0" presId="urn:microsoft.com/office/officeart/2018/2/layout/IconVerticalSolidList"/>
    <dgm:cxn modelId="{482C48E0-6C3D-4289-90EA-199C7B152EC7}" type="presParOf" srcId="{A1D20811-2E59-42AF-8D25-75512B1DCF3B}" destId="{76F2B867-FC46-4ADE-9EC7-C6D2D6C5BD1C}"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8ECCFE-4829-49CB-B3D4-CC9816FF22D0}" type="doc">
      <dgm:prSet loTypeId="urn:microsoft.com/office/officeart/2005/8/layout/default" loCatId="list" qsTypeId="urn:microsoft.com/office/officeart/2005/8/quickstyle/simple5" qsCatId="simple" csTypeId="urn:microsoft.com/office/officeart/2005/8/colors/accent1_2" csCatId="accent1" phldr="1"/>
      <dgm:spPr/>
      <dgm:t>
        <a:bodyPr/>
        <a:lstStyle/>
        <a:p>
          <a:endParaRPr lang="en-US"/>
        </a:p>
      </dgm:t>
    </dgm:pt>
    <dgm:pt modelId="{CFF6F089-F8D3-43A7-826A-9F7CDA28DA08}">
      <dgm:prSet/>
      <dgm:spPr/>
      <dgm:t>
        <a:bodyPr/>
        <a:lstStyle/>
        <a:p>
          <a:r>
            <a:rPr lang="sv-SE" noProof="0" dirty="0"/>
            <a:t>Korta beslut (3–24 månader) </a:t>
          </a:r>
        </a:p>
      </dgm:t>
    </dgm:pt>
    <dgm:pt modelId="{9C1EE7FF-0CFD-4BBD-9223-08216C9E6580}" type="parTrans" cxnId="{94594B9D-1A63-46A5-997B-379044729C58}">
      <dgm:prSet/>
      <dgm:spPr/>
      <dgm:t>
        <a:bodyPr/>
        <a:lstStyle/>
        <a:p>
          <a:endParaRPr lang="en-US"/>
        </a:p>
      </dgm:t>
    </dgm:pt>
    <dgm:pt modelId="{56D1F178-AEFC-4400-B0D8-0F3D90BC0A0E}" type="sibTrans" cxnId="{94594B9D-1A63-46A5-997B-379044729C58}">
      <dgm:prSet/>
      <dgm:spPr/>
      <dgm:t>
        <a:bodyPr/>
        <a:lstStyle/>
        <a:p>
          <a:endParaRPr lang="en-US"/>
        </a:p>
      </dgm:t>
    </dgm:pt>
    <dgm:pt modelId="{1C040B6B-EAFA-4C61-9547-B9B73E632794}">
      <dgm:prSet/>
      <dgm:spPr/>
      <dgm:t>
        <a:bodyPr/>
        <a:lstStyle/>
        <a:p>
          <a:r>
            <a:rPr lang="sv-SE" noProof="0" dirty="0"/>
            <a:t>Otydlig fortsättning </a:t>
          </a:r>
        </a:p>
      </dgm:t>
    </dgm:pt>
    <dgm:pt modelId="{303DE028-A8F9-4278-8FBA-15BE06BD154A}" type="parTrans" cxnId="{B8D09B5D-E644-400B-9342-0641A9EA48B0}">
      <dgm:prSet/>
      <dgm:spPr/>
      <dgm:t>
        <a:bodyPr/>
        <a:lstStyle/>
        <a:p>
          <a:endParaRPr lang="en-US"/>
        </a:p>
      </dgm:t>
    </dgm:pt>
    <dgm:pt modelId="{B4FE9109-54E9-4B64-9795-0E43D7D9DA5E}" type="sibTrans" cxnId="{B8D09B5D-E644-400B-9342-0641A9EA48B0}">
      <dgm:prSet/>
      <dgm:spPr/>
      <dgm:t>
        <a:bodyPr/>
        <a:lstStyle/>
        <a:p>
          <a:endParaRPr lang="en-US"/>
        </a:p>
      </dgm:t>
    </dgm:pt>
    <dgm:pt modelId="{81740737-1030-4802-9331-8595479F58C6}">
      <dgm:prSet/>
      <dgm:spPr/>
      <dgm:t>
        <a:bodyPr/>
        <a:lstStyle/>
        <a:p>
          <a:r>
            <a:rPr lang="sv-SE" noProof="0" dirty="0"/>
            <a:t>Avbrott p.g.a. ohälsa </a:t>
          </a:r>
        </a:p>
      </dgm:t>
    </dgm:pt>
    <dgm:pt modelId="{429D37BD-A304-4A6F-A0BA-2148D4304DB8}" type="parTrans" cxnId="{5DC205B7-1F93-4E35-A053-55BEB936CC19}">
      <dgm:prSet/>
      <dgm:spPr/>
      <dgm:t>
        <a:bodyPr/>
        <a:lstStyle/>
        <a:p>
          <a:endParaRPr lang="en-US"/>
        </a:p>
      </dgm:t>
    </dgm:pt>
    <dgm:pt modelId="{EEC88158-A69D-4507-923E-5D917015C8C7}" type="sibTrans" cxnId="{5DC205B7-1F93-4E35-A053-55BEB936CC19}">
      <dgm:prSet/>
      <dgm:spPr/>
      <dgm:t>
        <a:bodyPr/>
        <a:lstStyle/>
        <a:p>
          <a:endParaRPr lang="en-US"/>
        </a:p>
      </dgm:t>
    </dgm:pt>
    <dgm:pt modelId="{474E659A-E40F-46EA-BFAF-E23F286C8BE9}">
      <dgm:prSet/>
      <dgm:spPr/>
      <dgm:t>
        <a:bodyPr/>
        <a:lstStyle/>
        <a:p>
          <a:r>
            <a:rPr lang="sv-SE" noProof="0" dirty="0"/>
            <a:t>Fragmenterade insatser </a:t>
          </a:r>
        </a:p>
      </dgm:t>
    </dgm:pt>
    <dgm:pt modelId="{DAF94640-4328-45C5-9227-7624C5FCCB7D}" type="parTrans" cxnId="{1DF478F0-0F29-4BEA-B9CE-31144B178D77}">
      <dgm:prSet/>
      <dgm:spPr/>
      <dgm:t>
        <a:bodyPr/>
        <a:lstStyle/>
        <a:p>
          <a:endParaRPr lang="en-US"/>
        </a:p>
      </dgm:t>
    </dgm:pt>
    <dgm:pt modelId="{848A74C7-C4F5-4F79-959C-B08262DF8EB8}" type="sibTrans" cxnId="{1DF478F0-0F29-4BEA-B9CE-31144B178D77}">
      <dgm:prSet/>
      <dgm:spPr/>
      <dgm:t>
        <a:bodyPr/>
        <a:lstStyle/>
        <a:p>
          <a:endParaRPr lang="en-US"/>
        </a:p>
      </dgm:t>
    </dgm:pt>
    <dgm:pt modelId="{1B1F0974-01F3-40AE-ADD4-BC4123504B3C}">
      <dgm:prSet/>
      <dgm:spPr/>
      <dgm:t>
        <a:bodyPr/>
        <a:lstStyle/>
        <a:p>
          <a:r>
            <a:rPr lang="sv-SE" noProof="0" dirty="0"/>
            <a:t>Myndigheternas uppdrag styr</a:t>
          </a:r>
        </a:p>
      </dgm:t>
    </dgm:pt>
    <dgm:pt modelId="{209F71CF-A5E4-49D4-B6BE-573876BB01DD}" type="parTrans" cxnId="{EAB9C300-FF61-4E19-A49E-8AC767483F5E}">
      <dgm:prSet/>
      <dgm:spPr/>
      <dgm:t>
        <a:bodyPr/>
        <a:lstStyle/>
        <a:p>
          <a:endParaRPr lang="en-US"/>
        </a:p>
      </dgm:t>
    </dgm:pt>
    <dgm:pt modelId="{60D678B1-536C-48FE-8ABA-117B584862EE}" type="sibTrans" cxnId="{EAB9C300-FF61-4E19-A49E-8AC767483F5E}">
      <dgm:prSet/>
      <dgm:spPr/>
      <dgm:t>
        <a:bodyPr/>
        <a:lstStyle/>
        <a:p>
          <a:endParaRPr lang="en-US"/>
        </a:p>
      </dgm:t>
    </dgm:pt>
    <dgm:pt modelId="{DE17650F-404E-4304-BB13-AD606A92EE27}">
      <dgm:prSet/>
      <dgm:spPr/>
      <dgm:t>
        <a:bodyPr/>
        <a:lstStyle/>
        <a:p>
          <a:r>
            <a:rPr lang="sv-SE" noProof="0" dirty="0"/>
            <a:t>“Det är inte brist på insatser – det är brist på sammanhängande process”</a:t>
          </a:r>
        </a:p>
      </dgm:t>
    </dgm:pt>
    <dgm:pt modelId="{61879554-25B1-4C12-8F02-096070C2FAE5}" type="parTrans" cxnId="{42A79D68-014F-43C3-B305-94C08E082518}">
      <dgm:prSet/>
      <dgm:spPr/>
      <dgm:t>
        <a:bodyPr/>
        <a:lstStyle/>
        <a:p>
          <a:endParaRPr lang="en-US"/>
        </a:p>
      </dgm:t>
    </dgm:pt>
    <dgm:pt modelId="{E0B11BB6-A959-4FD8-9B54-535F2E43047F}" type="sibTrans" cxnId="{42A79D68-014F-43C3-B305-94C08E082518}">
      <dgm:prSet/>
      <dgm:spPr/>
      <dgm:t>
        <a:bodyPr/>
        <a:lstStyle/>
        <a:p>
          <a:endParaRPr lang="en-US"/>
        </a:p>
      </dgm:t>
    </dgm:pt>
    <dgm:pt modelId="{5369FB86-A6B4-4A4E-8D44-E671AD07847C}" type="pres">
      <dgm:prSet presAssocID="{AA8ECCFE-4829-49CB-B3D4-CC9816FF22D0}" presName="diagram" presStyleCnt="0">
        <dgm:presLayoutVars>
          <dgm:dir/>
          <dgm:resizeHandles val="exact"/>
        </dgm:presLayoutVars>
      </dgm:prSet>
      <dgm:spPr/>
    </dgm:pt>
    <dgm:pt modelId="{C1507EBB-2DF3-4803-B6A6-3464A4D9ADF9}" type="pres">
      <dgm:prSet presAssocID="{CFF6F089-F8D3-43A7-826A-9F7CDA28DA08}" presName="node" presStyleLbl="node1" presStyleIdx="0" presStyleCnt="6">
        <dgm:presLayoutVars>
          <dgm:bulletEnabled val="1"/>
        </dgm:presLayoutVars>
      </dgm:prSet>
      <dgm:spPr/>
    </dgm:pt>
    <dgm:pt modelId="{03C74D60-96D6-40D3-B72E-25E509CC1A74}" type="pres">
      <dgm:prSet presAssocID="{56D1F178-AEFC-4400-B0D8-0F3D90BC0A0E}" presName="sibTrans" presStyleCnt="0"/>
      <dgm:spPr/>
    </dgm:pt>
    <dgm:pt modelId="{70FDF071-48EC-43E9-95CC-9D4163DCF2C6}" type="pres">
      <dgm:prSet presAssocID="{1C040B6B-EAFA-4C61-9547-B9B73E632794}" presName="node" presStyleLbl="node1" presStyleIdx="1" presStyleCnt="6">
        <dgm:presLayoutVars>
          <dgm:bulletEnabled val="1"/>
        </dgm:presLayoutVars>
      </dgm:prSet>
      <dgm:spPr/>
    </dgm:pt>
    <dgm:pt modelId="{A012A409-28AD-4A9D-9027-48E3591351B0}" type="pres">
      <dgm:prSet presAssocID="{B4FE9109-54E9-4B64-9795-0E43D7D9DA5E}" presName="sibTrans" presStyleCnt="0"/>
      <dgm:spPr/>
    </dgm:pt>
    <dgm:pt modelId="{EA48FE24-74AD-48FC-BD90-4DCB87CF2638}" type="pres">
      <dgm:prSet presAssocID="{81740737-1030-4802-9331-8595479F58C6}" presName="node" presStyleLbl="node1" presStyleIdx="2" presStyleCnt="6">
        <dgm:presLayoutVars>
          <dgm:bulletEnabled val="1"/>
        </dgm:presLayoutVars>
      </dgm:prSet>
      <dgm:spPr/>
    </dgm:pt>
    <dgm:pt modelId="{E5843D9E-EE80-4CE4-82E6-F3383575B755}" type="pres">
      <dgm:prSet presAssocID="{EEC88158-A69D-4507-923E-5D917015C8C7}" presName="sibTrans" presStyleCnt="0"/>
      <dgm:spPr/>
    </dgm:pt>
    <dgm:pt modelId="{76D556F0-9658-41D0-B503-0E0E9C770C0B}" type="pres">
      <dgm:prSet presAssocID="{474E659A-E40F-46EA-BFAF-E23F286C8BE9}" presName="node" presStyleLbl="node1" presStyleIdx="3" presStyleCnt="6">
        <dgm:presLayoutVars>
          <dgm:bulletEnabled val="1"/>
        </dgm:presLayoutVars>
      </dgm:prSet>
      <dgm:spPr/>
    </dgm:pt>
    <dgm:pt modelId="{634CFEEC-C434-4E33-A1C5-C8347D66CA31}" type="pres">
      <dgm:prSet presAssocID="{848A74C7-C4F5-4F79-959C-B08262DF8EB8}" presName="sibTrans" presStyleCnt="0"/>
      <dgm:spPr/>
    </dgm:pt>
    <dgm:pt modelId="{A7FAA1A0-217B-47E4-9957-27573C97134D}" type="pres">
      <dgm:prSet presAssocID="{1B1F0974-01F3-40AE-ADD4-BC4123504B3C}" presName="node" presStyleLbl="node1" presStyleIdx="4" presStyleCnt="6">
        <dgm:presLayoutVars>
          <dgm:bulletEnabled val="1"/>
        </dgm:presLayoutVars>
      </dgm:prSet>
      <dgm:spPr/>
    </dgm:pt>
    <dgm:pt modelId="{D2A9EE69-314D-4B9F-834B-C087790ADD2B}" type="pres">
      <dgm:prSet presAssocID="{60D678B1-536C-48FE-8ABA-117B584862EE}" presName="sibTrans" presStyleCnt="0"/>
      <dgm:spPr/>
    </dgm:pt>
    <dgm:pt modelId="{26E06CF2-72A7-4485-BF37-195A4C3AD051}" type="pres">
      <dgm:prSet presAssocID="{DE17650F-404E-4304-BB13-AD606A92EE27}" presName="node" presStyleLbl="node1" presStyleIdx="5" presStyleCnt="6">
        <dgm:presLayoutVars>
          <dgm:bulletEnabled val="1"/>
        </dgm:presLayoutVars>
      </dgm:prSet>
      <dgm:spPr/>
    </dgm:pt>
  </dgm:ptLst>
  <dgm:cxnLst>
    <dgm:cxn modelId="{EAB9C300-FF61-4E19-A49E-8AC767483F5E}" srcId="{AA8ECCFE-4829-49CB-B3D4-CC9816FF22D0}" destId="{1B1F0974-01F3-40AE-ADD4-BC4123504B3C}" srcOrd="4" destOrd="0" parTransId="{209F71CF-A5E4-49D4-B6BE-573876BB01DD}" sibTransId="{60D678B1-536C-48FE-8ABA-117B584862EE}"/>
    <dgm:cxn modelId="{15F00106-1736-4644-AA3D-E51684E79141}" type="presOf" srcId="{1C040B6B-EAFA-4C61-9547-B9B73E632794}" destId="{70FDF071-48EC-43E9-95CC-9D4163DCF2C6}" srcOrd="0" destOrd="0" presId="urn:microsoft.com/office/officeart/2005/8/layout/default"/>
    <dgm:cxn modelId="{46582409-C87B-4573-9ACC-0E50B75A7DC2}" type="presOf" srcId="{AA8ECCFE-4829-49CB-B3D4-CC9816FF22D0}" destId="{5369FB86-A6B4-4A4E-8D44-E671AD07847C}" srcOrd="0" destOrd="0" presId="urn:microsoft.com/office/officeart/2005/8/layout/default"/>
    <dgm:cxn modelId="{7EA19F10-05E2-421F-9C53-D1AEA57513B4}" type="presOf" srcId="{1B1F0974-01F3-40AE-ADD4-BC4123504B3C}" destId="{A7FAA1A0-217B-47E4-9957-27573C97134D}" srcOrd="0" destOrd="0" presId="urn:microsoft.com/office/officeart/2005/8/layout/default"/>
    <dgm:cxn modelId="{39017527-A451-42AC-8D64-E7A9CECC8A09}" type="presOf" srcId="{CFF6F089-F8D3-43A7-826A-9F7CDA28DA08}" destId="{C1507EBB-2DF3-4803-B6A6-3464A4D9ADF9}" srcOrd="0" destOrd="0" presId="urn:microsoft.com/office/officeart/2005/8/layout/default"/>
    <dgm:cxn modelId="{BD601C34-90D6-48FB-92E2-7317212A7816}" type="presOf" srcId="{474E659A-E40F-46EA-BFAF-E23F286C8BE9}" destId="{76D556F0-9658-41D0-B503-0E0E9C770C0B}" srcOrd="0" destOrd="0" presId="urn:microsoft.com/office/officeart/2005/8/layout/default"/>
    <dgm:cxn modelId="{B8D09B5D-E644-400B-9342-0641A9EA48B0}" srcId="{AA8ECCFE-4829-49CB-B3D4-CC9816FF22D0}" destId="{1C040B6B-EAFA-4C61-9547-B9B73E632794}" srcOrd="1" destOrd="0" parTransId="{303DE028-A8F9-4278-8FBA-15BE06BD154A}" sibTransId="{B4FE9109-54E9-4B64-9795-0E43D7D9DA5E}"/>
    <dgm:cxn modelId="{EE9F5C61-4D89-4899-9390-0663E69C0B8E}" type="presOf" srcId="{81740737-1030-4802-9331-8595479F58C6}" destId="{EA48FE24-74AD-48FC-BD90-4DCB87CF2638}" srcOrd="0" destOrd="0" presId="urn:microsoft.com/office/officeart/2005/8/layout/default"/>
    <dgm:cxn modelId="{42A79D68-014F-43C3-B305-94C08E082518}" srcId="{AA8ECCFE-4829-49CB-B3D4-CC9816FF22D0}" destId="{DE17650F-404E-4304-BB13-AD606A92EE27}" srcOrd="5" destOrd="0" parTransId="{61879554-25B1-4C12-8F02-096070C2FAE5}" sibTransId="{E0B11BB6-A959-4FD8-9B54-535F2E43047F}"/>
    <dgm:cxn modelId="{6E011256-BB3F-48C4-ACD0-1B3A16C84677}" type="presOf" srcId="{DE17650F-404E-4304-BB13-AD606A92EE27}" destId="{26E06CF2-72A7-4485-BF37-195A4C3AD051}" srcOrd="0" destOrd="0" presId="urn:microsoft.com/office/officeart/2005/8/layout/default"/>
    <dgm:cxn modelId="{94594B9D-1A63-46A5-997B-379044729C58}" srcId="{AA8ECCFE-4829-49CB-B3D4-CC9816FF22D0}" destId="{CFF6F089-F8D3-43A7-826A-9F7CDA28DA08}" srcOrd="0" destOrd="0" parTransId="{9C1EE7FF-0CFD-4BBD-9223-08216C9E6580}" sibTransId="{56D1F178-AEFC-4400-B0D8-0F3D90BC0A0E}"/>
    <dgm:cxn modelId="{5DC205B7-1F93-4E35-A053-55BEB936CC19}" srcId="{AA8ECCFE-4829-49CB-B3D4-CC9816FF22D0}" destId="{81740737-1030-4802-9331-8595479F58C6}" srcOrd="2" destOrd="0" parTransId="{429D37BD-A304-4A6F-A0BA-2148D4304DB8}" sibTransId="{EEC88158-A69D-4507-923E-5D917015C8C7}"/>
    <dgm:cxn modelId="{1DF478F0-0F29-4BEA-B9CE-31144B178D77}" srcId="{AA8ECCFE-4829-49CB-B3D4-CC9816FF22D0}" destId="{474E659A-E40F-46EA-BFAF-E23F286C8BE9}" srcOrd="3" destOrd="0" parTransId="{DAF94640-4328-45C5-9227-7624C5FCCB7D}" sibTransId="{848A74C7-C4F5-4F79-959C-B08262DF8EB8}"/>
    <dgm:cxn modelId="{6AF887EC-CDE6-4D19-B5BF-0CE519FFE08E}" type="presParOf" srcId="{5369FB86-A6B4-4A4E-8D44-E671AD07847C}" destId="{C1507EBB-2DF3-4803-B6A6-3464A4D9ADF9}" srcOrd="0" destOrd="0" presId="urn:microsoft.com/office/officeart/2005/8/layout/default"/>
    <dgm:cxn modelId="{E621FF11-7CF4-4704-9EBE-033F434C5E0A}" type="presParOf" srcId="{5369FB86-A6B4-4A4E-8D44-E671AD07847C}" destId="{03C74D60-96D6-40D3-B72E-25E509CC1A74}" srcOrd="1" destOrd="0" presId="urn:microsoft.com/office/officeart/2005/8/layout/default"/>
    <dgm:cxn modelId="{218E919E-4CD3-4148-8A26-D03A43C6A2DE}" type="presParOf" srcId="{5369FB86-A6B4-4A4E-8D44-E671AD07847C}" destId="{70FDF071-48EC-43E9-95CC-9D4163DCF2C6}" srcOrd="2" destOrd="0" presId="urn:microsoft.com/office/officeart/2005/8/layout/default"/>
    <dgm:cxn modelId="{4170B827-9542-4807-8A02-ED95359AD21C}" type="presParOf" srcId="{5369FB86-A6B4-4A4E-8D44-E671AD07847C}" destId="{A012A409-28AD-4A9D-9027-48E3591351B0}" srcOrd="3" destOrd="0" presId="urn:microsoft.com/office/officeart/2005/8/layout/default"/>
    <dgm:cxn modelId="{111B2D57-47E1-414D-8AD8-2EC3906760F8}" type="presParOf" srcId="{5369FB86-A6B4-4A4E-8D44-E671AD07847C}" destId="{EA48FE24-74AD-48FC-BD90-4DCB87CF2638}" srcOrd="4" destOrd="0" presId="urn:microsoft.com/office/officeart/2005/8/layout/default"/>
    <dgm:cxn modelId="{B5554597-D150-4A10-9B3F-D54C6C2E1035}" type="presParOf" srcId="{5369FB86-A6B4-4A4E-8D44-E671AD07847C}" destId="{E5843D9E-EE80-4CE4-82E6-F3383575B755}" srcOrd="5" destOrd="0" presId="urn:microsoft.com/office/officeart/2005/8/layout/default"/>
    <dgm:cxn modelId="{FEF12180-2BA8-406C-B4A8-2A9F134C2F50}" type="presParOf" srcId="{5369FB86-A6B4-4A4E-8D44-E671AD07847C}" destId="{76D556F0-9658-41D0-B503-0E0E9C770C0B}" srcOrd="6" destOrd="0" presId="urn:microsoft.com/office/officeart/2005/8/layout/default"/>
    <dgm:cxn modelId="{1C058EEA-6CAC-4657-B56D-11420B8637D4}" type="presParOf" srcId="{5369FB86-A6B4-4A4E-8D44-E671AD07847C}" destId="{634CFEEC-C434-4E33-A1C5-C8347D66CA31}" srcOrd="7" destOrd="0" presId="urn:microsoft.com/office/officeart/2005/8/layout/default"/>
    <dgm:cxn modelId="{50B9D388-D7FB-4926-94B1-0D1CCD71837B}" type="presParOf" srcId="{5369FB86-A6B4-4A4E-8D44-E671AD07847C}" destId="{A7FAA1A0-217B-47E4-9957-27573C97134D}" srcOrd="8" destOrd="0" presId="urn:microsoft.com/office/officeart/2005/8/layout/default"/>
    <dgm:cxn modelId="{3415147A-9E44-4256-9822-297AEAF58604}" type="presParOf" srcId="{5369FB86-A6B4-4A4E-8D44-E671AD07847C}" destId="{D2A9EE69-314D-4B9F-834B-C087790ADD2B}" srcOrd="9" destOrd="0" presId="urn:microsoft.com/office/officeart/2005/8/layout/default"/>
    <dgm:cxn modelId="{02255A3C-39AC-4BAB-8BD8-3A71471F9567}" type="presParOf" srcId="{5369FB86-A6B4-4A4E-8D44-E671AD07847C}" destId="{26E06CF2-72A7-4485-BF37-195A4C3AD051}"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E8A4C6-90AC-4796-BB48-3C1762D94E10}"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77BF12A1-4C69-433A-8A76-17DFDF350C49}">
      <dgm:prSet/>
      <dgm:spPr/>
      <dgm:t>
        <a:bodyPr/>
        <a:lstStyle/>
        <a:p>
          <a:pPr>
            <a:lnSpc>
              <a:spcPct val="100000"/>
            </a:lnSpc>
          </a:pPr>
          <a:r>
            <a:rPr lang="sv-SE" noProof="0" dirty="0"/>
            <a:t>Resultat på 45% mot egenförsörjning</a:t>
          </a:r>
        </a:p>
      </dgm:t>
    </dgm:pt>
    <dgm:pt modelId="{E2233356-DE02-487B-9B75-CCB9AAEC3FAF}" type="parTrans" cxnId="{EFB34D36-F833-4FAB-8734-1C2146112308}">
      <dgm:prSet/>
      <dgm:spPr/>
      <dgm:t>
        <a:bodyPr/>
        <a:lstStyle/>
        <a:p>
          <a:endParaRPr lang="en-US"/>
        </a:p>
      </dgm:t>
    </dgm:pt>
    <dgm:pt modelId="{ADE34C7D-55AD-403A-835F-B1F12DB440D6}" type="sibTrans" cxnId="{EFB34D36-F833-4FAB-8734-1C2146112308}">
      <dgm:prSet/>
      <dgm:spPr/>
      <dgm:t>
        <a:bodyPr/>
        <a:lstStyle/>
        <a:p>
          <a:endParaRPr lang="en-US"/>
        </a:p>
      </dgm:t>
    </dgm:pt>
    <dgm:pt modelId="{978BFFB3-A7B1-4039-A241-25C1A4D3BD3A}">
      <dgm:prSet/>
      <dgm:spPr/>
      <dgm:t>
        <a:bodyPr/>
        <a:lstStyle/>
        <a:p>
          <a:pPr>
            <a:lnSpc>
              <a:spcPct val="100000"/>
            </a:lnSpc>
          </a:pPr>
          <a:r>
            <a:rPr lang="sv-SE" noProof="0" dirty="0"/>
            <a:t>Palett med insatser – hälsa, språk, kultur, mat, samhällsinformation, träffa arbetsgivare m.m.</a:t>
          </a:r>
        </a:p>
      </dgm:t>
    </dgm:pt>
    <dgm:pt modelId="{E53A6796-2A1F-4AAC-A49F-427C3B76087F}" type="parTrans" cxnId="{04062357-18D3-4371-8944-5132645D7ED2}">
      <dgm:prSet/>
      <dgm:spPr/>
      <dgm:t>
        <a:bodyPr/>
        <a:lstStyle/>
        <a:p>
          <a:endParaRPr lang="en-US"/>
        </a:p>
      </dgm:t>
    </dgm:pt>
    <dgm:pt modelId="{C22AEC67-F542-458F-87F1-EE7504A79671}" type="sibTrans" cxnId="{04062357-18D3-4371-8944-5132645D7ED2}">
      <dgm:prSet/>
      <dgm:spPr/>
      <dgm:t>
        <a:bodyPr/>
        <a:lstStyle/>
        <a:p>
          <a:endParaRPr lang="en-US"/>
        </a:p>
      </dgm:t>
    </dgm:pt>
    <dgm:pt modelId="{7612076B-CA19-41DA-BE1E-9AD351840683}">
      <dgm:prSet/>
      <dgm:spPr/>
      <dgm:t>
        <a:bodyPr/>
        <a:lstStyle/>
        <a:p>
          <a:pPr>
            <a:lnSpc>
              <a:spcPct val="100000"/>
            </a:lnSpc>
          </a:pPr>
          <a:r>
            <a:rPr lang="sv-SE" noProof="0" dirty="0"/>
            <a:t>Frivillighet - attityd</a:t>
          </a:r>
        </a:p>
      </dgm:t>
    </dgm:pt>
    <dgm:pt modelId="{B142FFC2-3902-4687-8E8A-95EC9955599D}" type="parTrans" cxnId="{E2E23856-3288-4582-AFA9-0A3F2C1BA978}">
      <dgm:prSet/>
      <dgm:spPr/>
      <dgm:t>
        <a:bodyPr/>
        <a:lstStyle/>
        <a:p>
          <a:endParaRPr lang="en-US"/>
        </a:p>
      </dgm:t>
    </dgm:pt>
    <dgm:pt modelId="{367136B5-E614-4264-A379-B4608677A5A5}" type="sibTrans" cxnId="{E2E23856-3288-4582-AFA9-0A3F2C1BA978}">
      <dgm:prSet/>
      <dgm:spPr/>
      <dgm:t>
        <a:bodyPr/>
        <a:lstStyle/>
        <a:p>
          <a:endParaRPr lang="en-US"/>
        </a:p>
      </dgm:t>
    </dgm:pt>
    <dgm:pt modelId="{EC58CD9B-2505-4D7B-B85A-E40EF137230E}" type="pres">
      <dgm:prSet presAssocID="{7FE8A4C6-90AC-4796-BB48-3C1762D94E10}" presName="root" presStyleCnt="0">
        <dgm:presLayoutVars>
          <dgm:dir/>
          <dgm:resizeHandles val="exact"/>
        </dgm:presLayoutVars>
      </dgm:prSet>
      <dgm:spPr/>
    </dgm:pt>
    <dgm:pt modelId="{DC1D9884-84B4-4DC4-A1D6-830FCC3516F1}" type="pres">
      <dgm:prSet presAssocID="{77BF12A1-4C69-433A-8A76-17DFDF350C49}" presName="compNode" presStyleCnt="0"/>
      <dgm:spPr/>
    </dgm:pt>
    <dgm:pt modelId="{B6015E50-9FF7-4C28-BFC8-66D0A81E860F}" type="pres">
      <dgm:prSet presAssocID="{77BF12A1-4C69-433A-8A76-17DFDF350C49}" presName="bgRect" presStyleLbl="bgShp" presStyleIdx="0" presStyleCnt="3"/>
      <dgm:spPr/>
    </dgm:pt>
    <dgm:pt modelId="{7A5849BF-A3B9-4255-9E70-540A628627E8}" type="pres">
      <dgm:prSet presAssocID="{77BF12A1-4C69-433A-8A76-17DFDF350C49}" presName="iconRect" presStyleLbl="node1" presStyleIdx="0" presStyleCnt="3"/>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Bar chart"/>
        </a:ext>
      </dgm:extLst>
    </dgm:pt>
    <dgm:pt modelId="{4D53782C-BC96-4CB7-B601-3C00162BAC83}" type="pres">
      <dgm:prSet presAssocID="{77BF12A1-4C69-433A-8A76-17DFDF350C49}" presName="spaceRect" presStyleCnt="0"/>
      <dgm:spPr/>
    </dgm:pt>
    <dgm:pt modelId="{43299964-BA9A-4E8F-B091-BDE88C699C19}" type="pres">
      <dgm:prSet presAssocID="{77BF12A1-4C69-433A-8A76-17DFDF350C49}" presName="parTx" presStyleLbl="revTx" presStyleIdx="0" presStyleCnt="3">
        <dgm:presLayoutVars>
          <dgm:chMax val="0"/>
          <dgm:chPref val="0"/>
        </dgm:presLayoutVars>
      </dgm:prSet>
      <dgm:spPr/>
    </dgm:pt>
    <dgm:pt modelId="{7623553C-87BC-47A1-8C5D-404EA772F88E}" type="pres">
      <dgm:prSet presAssocID="{ADE34C7D-55AD-403A-835F-B1F12DB440D6}" presName="sibTrans" presStyleCnt="0"/>
      <dgm:spPr/>
    </dgm:pt>
    <dgm:pt modelId="{A607DBD0-EDCF-4657-881A-2ADD0C601618}" type="pres">
      <dgm:prSet presAssocID="{978BFFB3-A7B1-4039-A241-25C1A4D3BD3A}" presName="compNode" presStyleCnt="0"/>
      <dgm:spPr/>
    </dgm:pt>
    <dgm:pt modelId="{C6BEB779-2F07-4822-9F97-934F514C1E62}" type="pres">
      <dgm:prSet presAssocID="{978BFFB3-A7B1-4039-A241-25C1A4D3BD3A}" presName="bgRect" presStyleLbl="bgShp" presStyleIdx="1" presStyleCnt="3"/>
      <dgm:spPr/>
    </dgm:pt>
    <dgm:pt modelId="{FC4A317C-7EA6-4905-BB55-E9A12A0F660F}" type="pres">
      <dgm:prSet presAssocID="{978BFFB3-A7B1-4039-A241-25C1A4D3BD3A}" presName="iconRect" presStyleLbl="node1" presStyleIdx="1" presStyleCnt="3"/>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alette"/>
        </a:ext>
      </dgm:extLst>
    </dgm:pt>
    <dgm:pt modelId="{BB6E66DF-DA68-4EA4-8F66-D0F43F186BC8}" type="pres">
      <dgm:prSet presAssocID="{978BFFB3-A7B1-4039-A241-25C1A4D3BD3A}" presName="spaceRect" presStyleCnt="0"/>
      <dgm:spPr/>
    </dgm:pt>
    <dgm:pt modelId="{D8349540-0740-459F-A437-59ED5FA67AC4}" type="pres">
      <dgm:prSet presAssocID="{978BFFB3-A7B1-4039-A241-25C1A4D3BD3A}" presName="parTx" presStyleLbl="revTx" presStyleIdx="1" presStyleCnt="3">
        <dgm:presLayoutVars>
          <dgm:chMax val="0"/>
          <dgm:chPref val="0"/>
        </dgm:presLayoutVars>
      </dgm:prSet>
      <dgm:spPr/>
    </dgm:pt>
    <dgm:pt modelId="{910BB749-D1A2-4F8E-9995-31C0F8AA293B}" type="pres">
      <dgm:prSet presAssocID="{C22AEC67-F542-458F-87F1-EE7504A79671}" presName="sibTrans" presStyleCnt="0"/>
      <dgm:spPr/>
    </dgm:pt>
    <dgm:pt modelId="{42ACF343-B7CE-4713-BD08-662D8F7D5DE0}" type="pres">
      <dgm:prSet presAssocID="{7612076B-CA19-41DA-BE1E-9AD351840683}" presName="compNode" presStyleCnt="0"/>
      <dgm:spPr/>
    </dgm:pt>
    <dgm:pt modelId="{21669C78-CBD4-4761-9E0C-241740985751}" type="pres">
      <dgm:prSet presAssocID="{7612076B-CA19-41DA-BE1E-9AD351840683}" presName="bgRect" presStyleLbl="bgShp" presStyleIdx="2" presStyleCnt="3"/>
      <dgm:spPr/>
    </dgm:pt>
    <dgm:pt modelId="{0895DEC2-7309-40D6-B46F-B6328A4041A8}" type="pres">
      <dgm:prSet presAssocID="{7612076B-CA19-41DA-BE1E-9AD351840683}" presName="iconRect" presStyleLbl="node1" presStyleIdx="2" presStyleCnt="3"/>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Smiling Face with No Fill"/>
        </a:ext>
      </dgm:extLst>
    </dgm:pt>
    <dgm:pt modelId="{E3B78A5F-95F3-4ED3-B1A6-9A956753EF2A}" type="pres">
      <dgm:prSet presAssocID="{7612076B-CA19-41DA-BE1E-9AD351840683}" presName="spaceRect" presStyleCnt="0"/>
      <dgm:spPr/>
    </dgm:pt>
    <dgm:pt modelId="{C697D4F8-0B38-4C85-B48F-CC600744E114}" type="pres">
      <dgm:prSet presAssocID="{7612076B-CA19-41DA-BE1E-9AD351840683}" presName="parTx" presStyleLbl="revTx" presStyleIdx="2" presStyleCnt="3">
        <dgm:presLayoutVars>
          <dgm:chMax val="0"/>
          <dgm:chPref val="0"/>
        </dgm:presLayoutVars>
      </dgm:prSet>
      <dgm:spPr/>
    </dgm:pt>
  </dgm:ptLst>
  <dgm:cxnLst>
    <dgm:cxn modelId="{001FE000-CCD8-40CC-B1ED-1BE9AF6EDF25}" type="presOf" srcId="{7FE8A4C6-90AC-4796-BB48-3C1762D94E10}" destId="{EC58CD9B-2505-4D7B-B85A-E40EF137230E}" srcOrd="0" destOrd="0" presId="urn:microsoft.com/office/officeart/2018/2/layout/IconVerticalSolidList"/>
    <dgm:cxn modelId="{EFB34D36-F833-4FAB-8734-1C2146112308}" srcId="{7FE8A4C6-90AC-4796-BB48-3C1762D94E10}" destId="{77BF12A1-4C69-433A-8A76-17DFDF350C49}" srcOrd="0" destOrd="0" parTransId="{E2233356-DE02-487B-9B75-CCB9AAEC3FAF}" sibTransId="{ADE34C7D-55AD-403A-835F-B1F12DB440D6}"/>
    <dgm:cxn modelId="{E2E23856-3288-4582-AFA9-0A3F2C1BA978}" srcId="{7FE8A4C6-90AC-4796-BB48-3C1762D94E10}" destId="{7612076B-CA19-41DA-BE1E-9AD351840683}" srcOrd="2" destOrd="0" parTransId="{B142FFC2-3902-4687-8E8A-95EC9955599D}" sibTransId="{367136B5-E614-4264-A379-B4608677A5A5}"/>
    <dgm:cxn modelId="{04062357-18D3-4371-8944-5132645D7ED2}" srcId="{7FE8A4C6-90AC-4796-BB48-3C1762D94E10}" destId="{978BFFB3-A7B1-4039-A241-25C1A4D3BD3A}" srcOrd="1" destOrd="0" parTransId="{E53A6796-2A1F-4AAC-A49F-427C3B76087F}" sibTransId="{C22AEC67-F542-458F-87F1-EE7504A79671}"/>
    <dgm:cxn modelId="{E16D0592-7A29-4150-9EE9-F0A9FA3B9360}" type="presOf" srcId="{7612076B-CA19-41DA-BE1E-9AD351840683}" destId="{C697D4F8-0B38-4C85-B48F-CC600744E114}" srcOrd="0" destOrd="0" presId="urn:microsoft.com/office/officeart/2018/2/layout/IconVerticalSolidList"/>
    <dgm:cxn modelId="{D3C344C4-CD45-4EA8-886F-24A8B65E7B4D}" type="presOf" srcId="{978BFFB3-A7B1-4039-A241-25C1A4D3BD3A}" destId="{D8349540-0740-459F-A437-59ED5FA67AC4}" srcOrd="0" destOrd="0" presId="urn:microsoft.com/office/officeart/2018/2/layout/IconVerticalSolidList"/>
    <dgm:cxn modelId="{74B838D6-2D58-492E-85F1-8C2B499DB6D6}" type="presOf" srcId="{77BF12A1-4C69-433A-8A76-17DFDF350C49}" destId="{43299964-BA9A-4E8F-B091-BDE88C699C19}" srcOrd="0" destOrd="0" presId="urn:microsoft.com/office/officeart/2018/2/layout/IconVerticalSolidList"/>
    <dgm:cxn modelId="{C6F1CE17-3356-4EE0-AC7B-3C290FD44B5D}" type="presParOf" srcId="{EC58CD9B-2505-4D7B-B85A-E40EF137230E}" destId="{DC1D9884-84B4-4DC4-A1D6-830FCC3516F1}" srcOrd="0" destOrd="0" presId="urn:microsoft.com/office/officeart/2018/2/layout/IconVerticalSolidList"/>
    <dgm:cxn modelId="{14206E81-31B0-4FF8-9516-441B1F996DD2}" type="presParOf" srcId="{DC1D9884-84B4-4DC4-A1D6-830FCC3516F1}" destId="{B6015E50-9FF7-4C28-BFC8-66D0A81E860F}" srcOrd="0" destOrd="0" presId="urn:microsoft.com/office/officeart/2018/2/layout/IconVerticalSolidList"/>
    <dgm:cxn modelId="{DAB24880-DE46-475A-B5AD-73D1A6D079DF}" type="presParOf" srcId="{DC1D9884-84B4-4DC4-A1D6-830FCC3516F1}" destId="{7A5849BF-A3B9-4255-9E70-540A628627E8}" srcOrd="1" destOrd="0" presId="urn:microsoft.com/office/officeart/2018/2/layout/IconVerticalSolidList"/>
    <dgm:cxn modelId="{D266B5C7-A28D-4A0F-9F3B-584C2E16B472}" type="presParOf" srcId="{DC1D9884-84B4-4DC4-A1D6-830FCC3516F1}" destId="{4D53782C-BC96-4CB7-B601-3C00162BAC83}" srcOrd="2" destOrd="0" presId="urn:microsoft.com/office/officeart/2018/2/layout/IconVerticalSolidList"/>
    <dgm:cxn modelId="{2CB14A8F-A373-4EA9-884C-204B580EFC5D}" type="presParOf" srcId="{DC1D9884-84B4-4DC4-A1D6-830FCC3516F1}" destId="{43299964-BA9A-4E8F-B091-BDE88C699C19}" srcOrd="3" destOrd="0" presId="urn:microsoft.com/office/officeart/2018/2/layout/IconVerticalSolidList"/>
    <dgm:cxn modelId="{3F895336-FB99-4550-9BFE-79EA46304C21}" type="presParOf" srcId="{EC58CD9B-2505-4D7B-B85A-E40EF137230E}" destId="{7623553C-87BC-47A1-8C5D-404EA772F88E}" srcOrd="1" destOrd="0" presId="urn:microsoft.com/office/officeart/2018/2/layout/IconVerticalSolidList"/>
    <dgm:cxn modelId="{C50C39FE-CE17-497D-9D1F-7E49E18B75B5}" type="presParOf" srcId="{EC58CD9B-2505-4D7B-B85A-E40EF137230E}" destId="{A607DBD0-EDCF-4657-881A-2ADD0C601618}" srcOrd="2" destOrd="0" presId="urn:microsoft.com/office/officeart/2018/2/layout/IconVerticalSolidList"/>
    <dgm:cxn modelId="{AD035D66-BB57-49D7-9A3D-17A30AA48199}" type="presParOf" srcId="{A607DBD0-EDCF-4657-881A-2ADD0C601618}" destId="{C6BEB779-2F07-4822-9F97-934F514C1E62}" srcOrd="0" destOrd="0" presId="urn:microsoft.com/office/officeart/2018/2/layout/IconVerticalSolidList"/>
    <dgm:cxn modelId="{66634C77-FDDA-4362-883D-86408057E5E8}" type="presParOf" srcId="{A607DBD0-EDCF-4657-881A-2ADD0C601618}" destId="{FC4A317C-7EA6-4905-BB55-E9A12A0F660F}" srcOrd="1" destOrd="0" presId="urn:microsoft.com/office/officeart/2018/2/layout/IconVerticalSolidList"/>
    <dgm:cxn modelId="{F241A4E3-9F1A-4C64-8140-F8075A3C5135}" type="presParOf" srcId="{A607DBD0-EDCF-4657-881A-2ADD0C601618}" destId="{BB6E66DF-DA68-4EA4-8F66-D0F43F186BC8}" srcOrd="2" destOrd="0" presId="urn:microsoft.com/office/officeart/2018/2/layout/IconVerticalSolidList"/>
    <dgm:cxn modelId="{F21464B0-9C1D-4B7F-9060-6716E75BFED4}" type="presParOf" srcId="{A607DBD0-EDCF-4657-881A-2ADD0C601618}" destId="{D8349540-0740-459F-A437-59ED5FA67AC4}" srcOrd="3" destOrd="0" presId="urn:microsoft.com/office/officeart/2018/2/layout/IconVerticalSolidList"/>
    <dgm:cxn modelId="{218356C7-6AEF-4619-AB69-7A878BAC8436}" type="presParOf" srcId="{EC58CD9B-2505-4D7B-B85A-E40EF137230E}" destId="{910BB749-D1A2-4F8E-9995-31C0F8AA293B}" srcOrd="3" destOrd="0" presId="urn:microsoft.com/office/officeart/2018/2/layout/IconVerticalSolidList"/>
    <dgm:cxn modelId="{18B2AB51-A0E0-4E50-A257-E5528C13325F}" type="presParOf" srcId="{EC58CD9B-2505-4D7B-B85A-E40EF137230E}" destId="{42ACF343-B7CE-4713-BD08-662D8F7D5DE0}" srcOrd="4" destOrd="0" presId="urn:microsoft.com/office/officeart/2018/2/layout/IconVerticalSolidList"/>
    <dgm:cxn modelId="{4C6B9C28-D547-4181-B321-71BDAA3B2DCD}" type="presParOf" srcId="{42ACF343-B7CE-4713-BD08-662D8F7D5DE0}" destId="{21669C78-CBD4-4761-9E0C-241740985751}" srcOrd="0" destOrd="0" presId="urn:microsoft.com/office/officeart/2018/2/layout/IconVerticalSolidList"/>
    <dgm:cxn modelId="{F5C78456-DC2E-45C9-97CE-7458CC05CA39}" type="presParOf" srcId="{42ACF343-B7CE-4713-BD08-662D8F7D5DE0}" destId="{0895DEC2-7309-40D6-B46F-B6328A4041A8}" srcOrd="1" destOrd="0" presId="urn:microsoft.com/office/officeart/2018/2/layout/IconVerticalSolidList"/>
    <dgm:cxn modelId="{3710812A-1DE2-4AFD-ACC8-BBA5B6A0A669}" type="presParOf" srcId="{42ACF343-B7CE-4713-BD08-662D8F7D5DE0}" destId="{E3B78A5F-95F3-4ED3-B1A6-9A956753EF2A}" srcOrd="2" destOrd="0" presId="urn:microsoft.com/office/officeart/2018/2/layout/IconVerticalSolidList"/>
    <dgm:cxn modelId="{F2978B1E-0959-4137-8E54-72BFD679D358}" type="presParOf" srcId="{42ACF343-B7CE-4713-BD08-662D8F7D5DE0}" destId="{C697D4F8-0B38-4C85-B48F-CC600744E11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B93A477-012B-4BAD-BA58-B618D59D693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7F99B1C-9032-42EF-B5F7-9DC9E52E7A4C}">
      <dgm:prSet/>
      <dgm:spPr/>
      <dgm:t>
        <a:bodyPr/>
        <a:lstStyle/>
        <a:p>
          <a:r>
            <a:rPr lang="sv-SE" noProof="0" dirty="0"/>
            <a:t>Förutsägbarhet</a:t>
          </a:r>
        </a:p>
      </dgm:t>
    </dgm:pt>
    <dgm:pt modelId="{98E68D32-0642-4F72-B227-8BD0835DEE33}" type="parTrans" cxnId="{2767FC53-EEE7-4C32-A123-ADFDD5584A15}">
      <dgm:prSet/>
      <dgm:spPr/>
      <dgm:t>
        <a:bodyPr/>
        <a:lstStyle/>
        <a:p>
          <a:endParaRPr lang="en-US"/>
        </a:p>
      </dgm:t>
    </dgm:pt>
    <dgm:pt modelId="{680CEF85-99BF-40F1-9FB6-C7395F17ADEE}" type="sibTrans" cxnId="{2767FC53-EEE7-4C32-A123-ADFDD5584A15}">
      <dgm:prSet/>
      <dgm:spPr/>
      <dgm:t>
        <a:bodyPr/>
        <a:lstStyle/>
        <a:p>
          <a:endParaRPr lang="en-US"/>
        </a:p>
      </dgm:t>
    </dgm:pt>
    <dgm:pt modelId="{0462A5C8-DE92-43F2-B6AE-A8F0FD3FCC83}">
      <dgm:prSet/>
      <dgm:spPr/>
      <dgm:t>
        <a:bodyPr/>
        <a:lstStyle/>
        <a:p>
          <a:r>
            <a:rPr lang="sv-SE" noProof="0" dirty="0"/>
            <a:t>Meningsfullt</a:t>
          </a:r>
        </a:p>
      </dgm:t>
    </dgm:pt>
    <dgm:pt modelId="{FBC94104-9FCB-49D8-A95F-1DA72EEA1047}" type="parTrans" cxnId="{A677949C-C777-4201-B671-3B0543BF6CBA}">
      <dgm:prSet/>
      <dgm:spPr/>
      <dgm:t>
        <a:bodyPr/>
        <a:lstStyle/>
        <a:p>
          <a:endParaRPr lang="en-US"/>
        </a:p>
      </dgm:t>
    </dgm:pt>
    <dgm:pt modelId="{053D8F13-52BE-4741-B3AA-0E39343E15D0}" type="sibTrans" cxnId="{A677949C-C777-4201-B671-3B0543BF6CBA}">
      <dgm:prSet/>
      <dgm:spPr/>
      <dgm:t>
        <a:bodyPr/>
        <a:lstStyle/>
        <a:p>
          <a:endParaRPr lang="en-US"/>
        </a:p>
      </dgm:t>
    </dgm:pt>
    <dgm:pt modelId="{62EBAA7C-9699-4DE7-9390-4C3EE5569C48}">
      <dgm:prSet/>
      <dgm:spPr/>
      <dgm:t>
        <a:bodyPr/>
        <a:lstStyle/>
        <a:p>
          <a:r>
            <a:rPr lang="sv-SE" noProof="0" dirty="0"/>
            <a:t>Målstyrt</a:t>
          </a:r>
        </a:p>
      </dgm:t>
    </dgm:pt>
    <dgm:pt modelId="{21CB9846-27EF-489D-AB45-DBF91AB7737E}" type="parTrans" cxnId="{70C38488-A21B-47BB-958F-F6C10A39CBF1}">
      <dgm:prSet/>
      <dgm:spPr/>
      <dgm:t>
        <a:bodyPr/>
        <a:lstStyle/>
        <a:p>
          <a:endParaRPr lang="en-US"/>
        </a:p>
      </dgm:t>
    </dgm:pt>
    <dgm:pt modelId="{C92895FA-F581-448A-BF0E-723195EBDBDA}" type="sibTrans" cxnId="{70C38488-A21B-47BB-958F-F6C10A39CBF1}">
      <dgm:prSet/>
      <dgm:spPr/>
      <dgm:t>
        <a:bodyPr/>
        <a:lstStyle/>
        <a:p>
          <a:endParaRPr lang="en-US"/>
        </a:p>
      </dgm:t>
    </dgm:pt>
    <dgm:pt modelId="{21B94D75-1EBE-4689-B0C7-370DF3854A71}">
      <dgm:prSet/>
      <dgm:spPr/>
      <dgm:t>
        <a:bodyPr/>
        <a:lstStyle/>
        <a:p>
          <a:r>
            <a:rPr lang="sv-SE" noProof="0" dirty="0"/>
            <a:t>Äga processen</a:t>
          </a:r>
        </a:p>
      </dgm:t>
    </dgm:pt>
    <dgm:pt modelId="{6DEBDC33-30B0-49B5-8F1D-AF9CF6BFBA5F}" type="parTrans" cxnId="{1C53B793-E024-44BB-9134-FB60DCDCE857}">
      <dgm:prSet/>
      <dgm:spPr/>
      <dgm:t>
        <a:bodyPr/>
        <a:lstStyle/>
        <a:p>
          <a:endParaRPr lang="en-US"/>
        </a:p>
      </dgm:t>
    </dgm:pt>
    <dgm:pt modelId="{25EB2925-C1CE-4055-8363-459EDCC72E15}" type="sibTrans" cxnId="{1C53B793-E024-44BB-9134-FB60DCDCE857}">
      <dgm:prSet/>
      <dgm:spPr/>
      <dgm:t>
        <a:bodyPr/>
        <a:lstStyle/>
        <a:p>
          <a:endParaRPr lang="en-US"/>
        </a:p>
      </dgm:t>
    </dgm:pt>
    <dgm:pt modelId="{631554A9-2C71-4E3C-9D80-8BDA89A113CD}" type="pres">
      <dgm:prSet presAssocID="{FB93A477-012B-4BAD-BA58-B618D59D693C}" presName="linear" presStyleCnt="0">
        <dgm:presLayoutVars>
          <dgm:animLvl val="lvl"/>
          <dgm:resizeHandles val="exact"/>
        </dgm:presLayoutVars>
      </dgm:prSet>
      <dgm:spPr/>
    </dgm:pt>
    <dgm:pt modelId="{0E3F3D89-B847-494D-A412-DF3663C9D163}" type="pres">
      <dgm:prSet presAssocID="{97F99B1C-9032-42EF-B5F7-9DC9E52E7A4C}" presName="parentText" presStyleLbl="node1" presStyleIdx="0" presStyleCnt="4">
        <dgm:presLayoutVars>
          <dgm:chMax val="0"/>
          <dgm:bulletEnabled val="1"/>
        </dgm:presLayoutVars>
      </dgm:prSet>
      <dgm:spPr/>
    </dgm:pt>
    <dgm:pt modelId="{8B764430-EBEA-4A2E-AA7B-B85A3278C890}" type="pres">
      <dgm:prSet presAssocID="{680CEF85-99BF-40F1-9FB6-C7395F17ADEE}" presName="spacer" presStyleCnt="0"/>
      <dgm:spPr/>
    </dgm:pt>
    <dgm:pt modelId="{607B529B-17F5-4293-93BB-80DB02BBBD83}" type="pres">
      <dgm:prSet presAssocID="{0462A5C8-DE92-43F2-B6AE-A8F0FD3FCC83}" presName="parentText" presStyleLbl="node1" presStyleIdx="1" presStyleCnt="4">
        <dgm:presLayoutVars>
          <dgm:chMax val="0"/>
          <dgm:bulletEnabled val="1"/>
        </dgm:presLayoutVars>
      </dgm:prSet>
      <dgm:spPr/>
    </dgm:pt>
    <dgm:pt modelId="{848709BC-41FC-4CB4-BFF4-F2DA71E25699}" type="pres">
      <dgm:prSet presAssocID="{053D8F13-52BE-4741-B3AA-0E39343E15D0}" presName="spacer" presStyleCnt="0"/>
      <dgm:spPr/>
    </dgm:pt>
    <dgm:pt modelId="{CB8232E2-6A49-4149-B12B-9199D542B9A2}" type="pres">
      <dgm:prSet presAssocID="{62EBAA7C-9699-4DE7-9390-4C3EE5569C48}" presName="parentText" presStyleLbl="node1" presStyleIdx="2" presStyleCnt="4">
        <dgm:presLayoutVars>
          <dgm:chMax val="0"/>
          <dgm:bulletEnabled val="1"/>
        </dgm:presLayoutVars>
      </dgm:prSet>
      <dgm:spPr/>
    </dgm:pt>
    <dgm:pt modelId="{8E17CAAD-0723-4982-822D-214B7B7426D1}" type="pres">
      <dgm:prSet presAssocID="{C92895FA-F581-448A-BF0E-723195EBDBDA}" presName="spacer" presStyleCnt="0"/>
      <dgm:spPr/>
    </dgm:pt>
    <dgm:pt modelId="{B0197A9C-FA1F-48F8-AEA2-9C0A37FE51E3}" type="pres">
      <dgm:prSet presAssocID="{21B94D75-1EBE-4689-B0C7-370DF3854A71}" presName="parentText" presStyleLbl="node1" presStyleIdx="3" presStyleCnt="4">
        <dgm:presLayoutVars>
          <dgm:chMax val="0"/>
          <dgm:bulletEnabled val="1"/>
        </dgm:presLayoutVars>
      </dgm:prSet>
      <dgm:spPr/>
    </dgm:pt>
  </dgm:ptLst>
  <dgm:cxnLst>
    <dgm:cxn modelId="{2767FC53-EEE7-4C32-A123-ADFDD5584A15}" srcId="{FB93A477-012B-4BAD-BA58-B618D59D693C}" destId="{97F99B1C-9032-42EF-B5F7-9DC9E52E7A4C}" srcOrd="0" destOrd="0" parTransId="{98E68D32-0642-4F72-B227-8BD0835DEE33}" sibTransId="{680CEF85-99BF-40F1-9FB6-C7395F17ADEE}"/>
    <dgm:cxn modelId="{70C38488-A21B-47BB-958F-F6C10A39CBF1}" srcId="{FB93A477-012B-4BAD-BA58-B618D59D693C}" destId="{62EBAA7C-9699-4DE7-9390-4C3EE5569C48}" srcOrd="2" destOrd="0" parTransId="{21CB9846-27EF-489D-AB45-DBF91AB7737E}" sibTransId="{C92895FA-F581-448A-BF0E-723195EBDBDA}"/>
    <dgm:cxn modelId="{CE488D8D-D921-43DF-98DE-D3A9FBB5346F}" type="presOf" srcId="{21B94D75-1EBE-4689-B0C7-370DF3854A71}" destId="{B0197A9C-FA1F-48F8-AEA2-9C0A37FE51E3}" srcOrd="0" destOrd="0" presId="urn:microsoft.com/office/officeart/2005/8/layout/vList2"/>
    <dgm:cxn modelId="{1C53B793-E024-44BB-9134-FB60DCDCE857}" srcId="{FB93A477-012B-4BAD-BA58-B618D59D693C}" destId="{21B94D75-1EBE-4689-B0C7-370DF3854A71}" srcOrd="3" destOrd="0" parTransId="{6DEBDC33-30B0-49B5-8F1D-AF9CF6BFBA5F}" sibTransId="{25EB2925-C1CE-4055-8363-459EDCC72E15}"/>
    <dgm:cxn modelId="{A677949C-C777-4201-B671-3B0543BF6CBA}" srcId="{FB93A477-012B-4BAD-BA58-B618D59D693C}" destId="{0462A5C8-DE92-43F2-B6AE-A8F0FD3FCC83}" srcOrd="1" destOrd="0" parTransId="{FBC94104-9FCB-49D8-A95F-1DA72EEA1047}" sibTransId="{053D8F13-52BE-4741-B3AA-0E39343E15D0}"/>
    <dgm:cxn modelId="{BC678BA5-92D5-42AC-B1FC-8A092C7F6ADD}" type="presOf" srcId="{0462A5C8-DE92-43F2-B6AE-A8F0FD3FCC83}" destId="{607B529B-17F5-4293-93BB-80DB02BBBD83}" srcOrd="0" destOrd="0" presId="urn:microsoft.com/office/officeart/2005/8/layout/vList2"/>
    <dgm:cxn modelId="{F49436C5-7BE9-4790-966C-07FE35FB3527}" type="presOf" srcId="{FB93A477-012B-4BAD-BA58-B618D59D693C}" destId="{631554A9-2C71-4E3C-9D80-8BDA89A113CD}" srcOrd="0" destOrd="0" presId="urn:microsoft.com/office/officeart/2005/8/layout/vList2"/>
    <dgm:cxn modelId="{F1C8F3D0-D20F-4CBC-A9F3-FAE2AD634000}" type="presOf" srcId="{97F99B1C-9032-42EF-B5F7-9DC9E52E7A4C}" destId="{0E3F3D89-B847-494D-A412-DF3663C9D163}" srcOrd="0" destOrd="0" presId="urn:microsoft.com/office/officeart/2005/8/layout/vList2"/>
    <dgm:cxn modelId="{80F99AFE-84D2-47B1-9776-0E2CEE82C0D2}" type="presOf" srcId="{62EBAA7C-9699-4DE7-9390-4C3EE5569C48}" destId="{CB8232E2-6A49-4149-B12B-9199D542B9A2}" srcOrd="0" destOrd="0" presId="urn:microsoft.com/office/officeart/2005/8/layout/vList2"/>
    <dgm:cxn modelId="{45A550BC-B584-4B96-993A-499014349B64}" type="presParOf" srcId="{631554A9-2C71-4E3C-9D80-8BDA89A113CD}" destId="{0E3F3D89-B847-494D-A412-DF3663C9D163}" srcOrd="0" destOrd="0" presId="urn:microsoft.com/office/officeart/2005/8/layout/vList2"/>
    <dgm:cxn modelId="{8B211575-A47B-4743-B3A0-4C344A415E74}" type="presParOf" srcId="{631554A9-2C71-4E3C-9D80-8BDA89A113CD}" destId="{8B764430-EBEA-4A2E-AA7B-B85A3278C890}" srcOrd="1" destOrd="0" presId="urn:microsoft.com/office/officeart/2005/8/layout/vList2"/>
    <dgm:cxn modelId="{1D729DCE-4132-466E-BA9B-2BB0965FE822}" type="presParOf" srcId="{631554A9-2C71-4E3C-9D80-8BDA89A113CD}" destId="{607B529B-17F5-4293-93BB-80DB02BBBD83}" srcOrd="2" destOrd="0" presId="urn:microsoft.com/office/officeart/2005/8/layout/vList2"/>
    <dgm:cxn modelId="{6CF094DF-1601-472C-BD54-6CDEF3DF76DD}" type="presParOf" srcId="{631554A9-2C71-4E3C-9D80-8BDA89A113CD}" destId="{848709BC-41FC-4CB4-BFF4-F2DA71E25699}" srcOrd="3" destOrd="0" presId="urn:microsoft.com/office/officeart/2005/8/layout/vList2"/>
    <dgm:cxn modelId="{984D843B-2A2A-42AD-A0F8-A66639CAB9DA}" type="presParOf" srcId="{631554A9-2C71-4E3C-9D80-8BDA89A113CD}" destId="{CB8232E2-6A49-4149-B12B-9199D542B9A2}" srcOrd="4" destOrd="0" presId="urn:microsoft.com/office/officeart/2005/8/layout/vList2"/>
    <dgm:cxn modelId="{28F0D1D7-2DF8-42CD-BE22-38B161205A5C}" type="presParOf" srcId="{631554A9-2C71-4E3C-9D80-8BDA89A113CD}" destId="{8E17CAAD-0723-4982-822D-214B7B7426D1}" srcOrd="5" destOrd="0" presId="urn:microsoft.com/office/officeart/2005/8/layout/vList2"/>
    <dgm:cxn modelId="{6CCB718E-59A2-4CE5-9B2B-997876E3D322}" type="presParOf" srcId="{631554A9-2C71-4E3C-9D80-8BDA89A113CD}" destId="{B0197A9C-FA1F-48F8-AEA2-9C0A37FE51E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E96BF-16E1-4CC5-95DD-CD9BAB3AE214}">
      <dsp:nvSpPr>
        <dsp:cNvPr id="0" name=""/>
        <dsp:cNvSpPr/>
      </dsp:nvSpPr>
      <dsp:spPr>
        <a:xfrm>
          <a:off x="0" y="592296"/>
          <a:ext cx="11160125" cy="109347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6B4E78-15E2-4198-81C9-4BF87F68ACF0}">
      <dsp:nvSpPr>
        <dsp:cNvPr id="0" name=""/>
        <dsp:cNvSpPr/>
      </dsp:nvSpPr>
      <dsp:spPr>
        <a:xfrm>
          <a:off x="330774" y="838326"/>
          <a:ext cx="601408" cy="60140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3CBFCFC-EC1C-49AE-AF3B-A48EDF225EA8}">
      <dsp:nvSpPr>
        <dsp:cNvPr id="0" name=""/>
        <dsp:cNvSpPr/>
      </dsp:nvSpPr>
      <dsp:spPr>
        <a:xfrm>
          <a:off x="1262957" y="592296"/>
          <a:ext cx="9897167" cy="1093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726" tIns="115726" rIns="115726" bIns="115726" numCol="1" spcCol="1270" anchor="ctr" anchorCtr="0">
          <a:noAutofit/>
        </a:bodyPr>
        <a:lstStyle/>
        <a:p>
          <a:pPr marL="0" lvl="0" indent="0" algn="l" defTabSz="1111250">
            <a:lnSpc>
              <a:spcPct val="90000"/>
            </a:lnSpc>
            <a:spcBef>
              <a:spcPct val="0"/>
            </a:spcBef>
            <a:spcAft>
              <a:spcPct val="35000"/>
            </a:spcAft>
            <a:buNone/>
          </a:pPr>
          <a:r>
            <a:rPr lang="sv-SE" sz="2500" kern="1200" noProof="0" dirty="0"/>
            <a:t>Vi möter samma personer – som ger helt olika resultat beroende på hur insatsen är utformad.</a:t>
          </a:r>
        </a:p>
      </dsp:txBody>
      <dsp:txXfrm>
        <a:off x="1262957" y="592296"/>
        <a:ext cx="9897167" cy="1093470"/>
      </dsp:txXfrm>
    </dsp:sp>
    <dsp:sp modelId="{8D3A45C7-7A91-43EE-819B-77E4A792B31A}">
      <dsp:nvSpPr>
        <dsp:cNvPr id="0" name=""/>
        <dsp:cNvSpPr/>
      </dsp:nvSpPr>
      <dsp:spPr>
        <a:xfrm>
          <a:off x="0" y="1959133"/>
          <a:ext cx="11160125" cy="109347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5CBF26-6594-41A9-941A-086F3976BAC0}">
      <dsp:nvSpPr>
        <dsp:cNvPr id="0" name=""/>
        <dsp:cNvSpPr/>
      </dsp:nvSpPr>
      <dsp:spPr>
        <a:xfrm>
          <a:off x="330774" y="2205164"/>
          <a:ext cx="601408" cy="60140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6F2B867-FC46-4ADE-9EC7-C6D2D6C5BD1C}">
      <dsp:nvSpPr>
        <dsp:cNvPr id="0" name=""/>
        <dsp:cNvSpPr/>
      </dsp:nvSpPr>
      <dsp:spPr>
        <a:xfrm>
          <a:off x="1262957" y="1959133"/>
          <a:ext cx="9897167" cy="1093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726" tIns="115726" rIns="115726" bIns="115726" numCol="1" spcCol="1270" anchor="ctr" anchorCtr="0">
          <a:noAutofit/>
        </a:bodyPr>
        <a:lstStyle/>
        <a:p>
          <a:pPr marL="0" lvl="0" indent="0" algn="l" defTabSz="1111250">
            <a:lnSpc>
              <a:spcPct val="90000"/>
            </a:lnSpc>
            <a:spcBef>
              <a:spcPct val="0"/>
            </a:spcBef>
            <a:spcAft>
              <a:spcPct val="35000"/>
            </a:spcAft>
            <a:buNone/>
          </a:pPr>
          <a:r>
            <a:rPr lang="sv-SE" sz="2500" b="1" kern="1200" noProof="0" dirty="0"/>
            <a:t>10 % → 40 %</a:t>
          </a:r>
          <a:endParaRPr lang="sv-SE" sz="2500" kern="1200" noProof="0" dirty="0"/>
        </a:p>
      </dsp:txBody>
      <dsp:txXfrm>
        <a:off x="1262957" y="1959133"/>
        <a:ext cx="9897167" cy="10934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07EBB-2DF3-4803-B6A6-3464A4D9ADF9}">
      <dsp:nvSpPr>
        <dsp:cNvPr id="0" name=""/>
        <dsp:cNvSpPr/>
      </dsp:nvSpPr>
      <dsp:spPr>
        <a:xfrm>
          <a:off x="1098574" y="1845"/>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Korta beslut (3–24 månader) </a:t>
          </a:r>
        </a:p>
      </dsp:txBody>
      <dsp:txXfrm>
        <a:off x="1098574" y="1845"/>
        <a:ext cx="2800929" cy="1680557"/>
      </dsp:txXfrm>
    </dsp:sp>
    <dsp:sp modelId="{70FDF071-48EC-43E9-95CC-9D4163DCF2C6}">
      <dsp:nvSpPr>
        <dsp:cNvPr id="0" name=""/>
        <dsp:cNvSpPr/>
      </dsp:nvSpPr>
      <dsp:spPr>
        <a:xfrm>
          <a:off x="4179597" y="1845"/>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Otydlig fortsättning </a:t>
          </a:r>
        </a:p>
      </dsp:txBody>
      <dsp:txXfrm>
        <a:off x="4179597" y="1845"/>
        <a:ext cx="2800929" cy="1680557"/>
      </dsp:txXfrm>
    </dsp:sp>
    <dsp:sp modelId="{EA48FE24-74AD-48FC-BD90-4DCB87CF2638}">
      <dsp:nvSpPr>
        <dsp:cNvPr id="0" name=""/>
        <dsp:cNvSpPr/>
      </dsp:nvSpPr>
      <dsp:spPr>
        <a:xfrm>
          <a:off x="7260620" y="1845"/>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Avbrott p.g.a. ohälsa </a:t>
          </a:r>
        </a:p>
      </dsp:txBody>
      <dsp:txXfrm>
        <a:off x="7260620" y="1845"/>
        <a:ext cx="2800929" cy="1680557"/>
      </dsp:txXfrm>
    </dsp:sp>
    <dsp:sp modelId="{76D556F0-9658-41D0-B503-0E0E9C770C0B}">
      <dsp:nvSpPr>
        <dsp:cNvPr id="0" name=""/>
        <dsp:cNvSpPr/>
      </dsp:nvSpPr>
      <dsp:spPr>
        <a:xfrm>
          <a:off x="1098574" y="1962496"/>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Fragmenterade insatser </a:t>
          </a:r>
        </a:p>
      </dsp:txBody>
      <dsp:txXfrm>
        <a:off x="1098574" y="1962496"/>
        <a:ext cx="2800929" cy="1680557"/>
      </dsp:txXfrm>
    </dsp:sp>
    <dsp:sp modelId="{A7FAA1A0-217B-47E4-9957-27573C97134D}">
      <dsp:nvSpPr>
        <dsp:cNvPr id="0" name=""/>
        <dsp:cNvSpPr/>
      </dsp:nvSpPr>
      <dsp:spPr>
        <a:xfrm>
          <a:off x="4179597" y="1962496"/>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Myndigheternas uppdrag styr</a:t>
          </a:r>
        </a:p>
      </dsp:txBody>
      <dsp:txXfrm>
        <a:off x="4179597" y="1962496"/>
        <a:ext cx="2800929" cy="1680557"/>
      </dsp:txXfrm>
    </dsp:sp>
    <dsp:sp modelId="{26E06CF2-72A7-4485-BF37-195A4C3AD051}">
      <dsp:nvSpPr>
        <dsp:cNvPr id="0" name=""/>
        <dsp:cNvSpPr/>
      </dsp:nvSpPr>
      <dsp:spPr>
        <a:xfrm>
          <a:off x="7260620" y="1962496"/>
          <a:ext cx="2800929" cy="16805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sv-SE" sz="2200" kern="1200" noProof="0" dirty="0"/>
            <a:t>“Det är inte brist på insatser – det är brist på sammanhängande process”</a:t>
          </a:r>
        </a:p>
      </dsp:txBody>
      <dsp:txXfrm>
        <a:off x="7260620" y="1962496"/>
        <a:ext cx="2800929" cy="16805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015E50-9FF7-4C28-BFC8-66D0A81E860F}">
      <dsp:nvSpPr>
        <dsp:cNvPr id="0" name=""/>
        <dsp:cNvSpPr/>
      </dsp:nvSpPr>
      <dsp:spPr>
        <a:xfrm>
          <a:off x="0" y="444"/>
          <a:ext cx="11160125" cy="10411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5849BF-A3B9-4255-9E70-540A628627E8}">
      <dsp:nvSpPr>
        <dsp:cNvPr id="0" name=""/>
        <dsp:cNvSpPr/>
      </dsp:nvSpPr>
      <dsp:spPr>
        <a:xfrm>
          <a:off x="314946" y="234702"/>
          <a:ext cx="572630" cy="57263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299964-BA9A-4E8F-B091-BDE88C699C19}">
      <dsp:nvSpPr>
        <dsp:cNvPr id="0" name=""/>
        <dsp:cNvSpPr/>
      </dsp:nvSpPr>
      <dsp:spPr>
        <a:xfrm>
          <a:off x="1202523" y="444"/>
          <a:ext cx="9957601" cy="10411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188" tIns="110188" rIns="110188" bIns="110188" numCol="1" spcCol="1270" anchor="ctr" anchorCtr="0">
          <a:noAutofit/>
        </a:bodyPr>
        <a:lstStyle/>
        <a:p>
          <a:pPr marL="0" lvl="0" indent="0" algn="l" defTabSz="1111250">
            <a:lnSpc>
              <a:spcPct val="100000"/>
            </a:lnSpc>
            <a:spcBef>
              <a:spcPct val="0"/>
            </a:spcBef>
            <a:spcAft>
              <a:spcPct val="35000"/>
            </a:spcAft>
            <a:buNone/>
          </a:pPr>
          <a:r>
            <a:rPr lang="sv-SE" sz="2500" kern="1200" noProof="0" dirty="0"/>
            <a:t>Resultat på 45% mot egenförsörjning</a:t>
          </a:r>
        </a:p>
      </dsp:txBody>
      <dsp:txXfrm>
        <a:off x="1202523" y="444"/>
        <a:ext cx="9957601" cy="1041145"/>
      </dsp:txXfrm>
    </dsp:sp>
    <dsp:sp modelId="{C6BEB779-2F07-4822-9F97-934F514C1E62}">
      <dsp:nvSpPr>
        <dsp:cNvPr id="0" name=""/>
        <dsp:cNvSpPr/>
      </dsp:nvSpPr>
      <dsp:spPr>
        <a:xfrm>
          <a:off x="0" y="1301877"/>
          <a:ext cx="11160125" cy="10411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C4A317C-7EA6-4905-BB55-E9A12A0F660F}">
      <dsp:nvSpPr>
        <dsp:cNvPr id="0" name=""/>
        <dsp:cNvSpPr/>
      </dsp:nvSpPr>
      <dsp:spPr>
        <a:xfrm>
          <a:off x="314946" y="1536134"/>
          <a:ext cx="572630" cy="57263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349540-0740-459F-A437-59ED5FA67AC4}">
      <dsp:nvSpPr>
        <dsp:cNvPr id="0" name=""/>
        <dsp:cNvSpPr/>
      </dsp:nvSpPr>
      <dsp:spPr>
        <a:xfrm>
          <a:off x="1202523" y="1301877"/>
          <a:ext cx="9957601" cy="10411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188" tIns="110188" rIns="110188" bIns="110188" numCol="1" spcCol="1270" anchor="ctr" anchorCtr="0">
          <a:noAutofit/>
        </a:bodyPr>
        <a:lstStyle/>
        <a:p>
          <a:pPr marL="0" lvl="0" indent="0" algn="l" defTabSz="1111250">
            <a:lnSpc>
              <a:spcPct val="100000"/>
            </a:lnSpc>
            <a:spcBef>
              <a:spcPct val="0"/>
            </a:spcBef>
            <a:spcAft>
              <a:spcPct val="35000"/>
            </a:spcAft>
            <a:buNone/>
          </a:pPr>
          <a:r>
            <a:rPr lang="sv-SE" sz="2500" kern="1200" noProof="0" dirty="0"/>
            <a:t>Palett med insatser – hälsa, språk, kultur, mat, samhällsinformation, träffa arbetsgivare m.m.</a:t>
          </a:r>
        </a:p>
      </dsp:txBody>
      <dsp:txXfrm>
        <a:off x="1202523" y="1301877"/>
        <a:ext cx="9957601" cy="1041145"/>
      </dsp:txXfrm>
    </dsp:sp>
    <dsp:sp modelId="{21669C78-CBD4-4761-9E0C-241740985751}">
      <dsp:nvSpPr>
        <dsp:cNvPr id="0" name=""/>
        <dsp:cNvSpPr/>
      </dsp:nvSpPr>
      <dsp:spPr>
        <a:xfrm>
          <a:off x="0" y="2603309"/>
          <a:ext cx="11160125" cy="10411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95DEC2-7309-40D6-B46F-B6328A4041A8}">
      <dsp:nvSpPr>
        <dsp:cNvPr id="0" name=""/>
        <dsp:cNvSpPr/>
      </dsp:nvSpPr>
      <dsp:spPr>
        <a:xfrm>
          <a:off x="314946" y="2837567"/>
          <a:ext cx="572630" cy="57263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97D4F8-0B38-4C85-B48F-CC600744E114}">
      <dsp:nvSpPr>
        <dsp:cNvPr id="0" name=""/>
        <dsp:cNvSpPr/>
      </dsp:nvSpPr>
      <dsp:spPr>
        <a:xfrm>
          <a:off x="1202523" y="2603309"/>
          <a:ext cx="9957601" cy="10411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188" tIns="110188" rIns="110188" bIns="110188" numCol="1" spcCol="1270" anchor="ctr" anchorCtr="0">
          <a:noAutofit/>
        </a:bodyPr>
        <a:lstStyle/>
        <a:p>
          <a:pPr marL="0" lvl="0" indent="0" algn="l" defTabSz="1111250">
            <a:lnSpc>
              <a:spcPct val="100000"/>
            </a:lnSpc>
            <a:spcBef>
              <a:spcPct val="0"/>
            </a:spcBef>
            <a:spcAft>
              <a:spcPct val="35000"/>
            </a:spcAft>
            <a:buNone/>
          </a:pPr>
          <a:r>
            <a:rPr lang="sv-SE" sz="2500" kern="1200" noProof="0" dirty="0"/>
            <a:t>Frivillighet - attityd</a:t>
          </a:r>
        </a:p>
      </dsp:txBody>
      <dsp:txXfrm>
        <a:off x="1202523" y="2603309"/>
        <a:ext cx="9957601" cy="10411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F3D89-B847-494D-A412-DF3663C9D163}">
      <dsp:nvSpPr>
        <dsp:cNvPr id="0" name=""/>
        <dsp:cNvSpPr/>
      </dsp:nvSpPr>
      <dsp:spPr>
        <a:xfrm>
          <a:off x="0" y="33250"/>
          <a:ext cx="11160125" cy="8189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sv-SE" sz="3500" kern="1200" noProof="0" dirty="0"/>
            <a:t>Förutsägbarhet</a:t>
          </a:r>
        </a:p>
      </dsp:txBody>
      <dsp:txXfrm>
        <a:off x="39980" y="73230"/>
        <a:ext cx="11080165" cy="739039"/>
      </dsp:txXfrm>
    </dsp:sp>
    <dsp:sp modelId="{607B529B-17F5-4293-93BB-80DB02BBBD83}">
      <dsp:nvSpPr>
        <dsp:cNvPr id="0" name=""/>
        <dsp:cNvSpPr/>
      </dsp:nvSpPr>
      <dsp:spPr>
        <a:xfrm>
          <a:off x="0" y="953050"/>
          <a:ext cx="11160125" cy="8189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sv-SE" sz="3500" kern="1200" noProof="0" dirty="0"/>
            <a:t>Meningsfullt</a:t>
          </a:r>
        </a:p>
      </dsp:txBody>
      <dsp:txXfrm>
        <a:off x="39980" y="993030"/>
        <a:ext cx="11080165" cy="739039"/>
      </dsp:txXfrm>
    </dsp:sp>
    <dsp:sp modelId="{CB8232E2-6A49-4149-B12B-9199D542B9A2}">
      <dsp:nvSpPr>
        <dsp:cNvPr id="0" name=""/>
        <dsp:cNvSpPr/>
      </dsp:nvSpPr>
      <dsp:spPr>
        <a:xfrm>
          <a:off x="0" y="1872850"/>
          <a:ext cx="11160125" cy="8189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sv-SE" sz="3500" kern="1200" noProof="0" dirty="0"/>
            <a:t>Målstyrt</a:t>
          </a:r>
        </a:p>
      </dsp:txBody>
      <dsp:txXfrm>
        <a:off x="39980" y="1912830"/>
        <a:ext cx="11080165" cy="739039"/>
      </dsp:txXfrm>
    </dsp:sp>
    <dsp:sp modelId="{B0197A9C-FA1F-48F8-AEA2-9C0A37FE51E3}">
      <dsp:nvSpPr>
        <dsp:cNvPr id="0" name=""/>
        <dsp:cNvSpPr/>
      </dsp:nvSpPr>
      <dsp:spPr>
        <a:xfrm>
          <a:off x="0" y="2792649"/>
          <a:ext cx="11160125" cy="8189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sv-SE" sz="3500" kern="1200" noProof="0" dirty="0"/>
            <a:t>Äga processen</a:t>
          </a:r>
        </a:p>
      </dsp:txBody>
      <dsp:txXfrm>
        <a:off x="39980" y="2832629"/>
        <a:ext cx="11080165" cy="73903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63118C5F-93F2-42C8-9634-9D84965F10F9}" type="datetimeFigureOut">
              <a:rPr lang="sv-SE" smtClean="0"/>
              <a:t>2026-05-06</a:t>
            </a:fld>
            <a:endParaRPr lang="sv-SE"/>
          </a:p>
        </p:txBody>
      </p:sp>
      <p:sp>
        <p:nvSpPr>
          <p:cNvPr id="4" name="Platshållare för bildobjekt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15EAF717-A70A-4FE7-8FBC-17424440763D}" type="slidenum">
              <a:rPr lang="sv-SE" smtClean="0"/>
              <a:t>‹#›</a:t>
            </a:fld>
            <a:endParaRPr lang="sv-SE"/>
          </a:p>
        </p:txBody>
      </p:sp>
    </p:spTree>
    <p:extLst>
      <p:ext uri="{BB962C8B-B14F-4D97-AF65-F5344CB8AC3E}">
        <p14:creationId xmlns:p14="http://schemas.microsoft.com/office/powerpoint/2010/main" val="43218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EAF717-A70A-4FE7-8FBC-17424440763D}" type="slidenum">
              <a:rPr lang="sv-SE" smtClean="0"/>
              <a:t>1</a:t>
            </a:fld>
            <a:endParaRPr lang="sv-SE"/>
          </a:p>
        </p:txBody>
      </p:sp>
    </p:spTree>
    <p:extLst>
      <p:ext uri="{BB962C8B-B14F-4D97-AF65-F5344CB8AC3E}">
        <p14:creationId xmlns:p14="http://schemas.microsoft.com/office/powerpoint/2010/main" val="1041403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Aktiviteten för varje grupp är på 10 månader, projektet är under 3 år.</a:t>
            </a:r>
            <a:r>
              <a:rPr lang="sv-SE" dirty="0"/>
              <a:t> </a:t>
            </a:r>
            <a:endParaRPr lang="en-US" dirty="0"/>
          </a:p>
          <a:p>
            <a:r>
              <a:rPr lang="sv-SE" dirty="0"/>
              <a:t>Det innebär att deltagarna kommer få ta del av olika aktiviteter som är dagsaktuella. Insatsen kommer ha aktiviteter som fokuserar på arbetsmarknadsfrågor, digitalisering, språk- och hälsofrämjande och deltagarna kommer ta del av dessa i en kombination av kompetensutvecklande steg. </a:t>
            </a:r>
            <a:endParaRPr lang="sv-SE" dirty="0">
              <a:ea typeface="Calibri"/>
              <a:cs typeface="Calibri"/>
            </a:endParaRPr>
          </a:p>
          <a:p>
            <a:r>
              <a:rPr lang="sv-SE" dirty="0"/>
              <a:t> </a:t>
            </a:r>
            <a:endParaRPr lang="sv-SE" dirty="0">
              <a:ea typeface="Calibri"/>
              <a:cs typeface="Calibri"/>
            </a:endParaRPr>
          </a:p>
          <a:p>
            <a:r>
              <a:rPr lang="sv-SE" b="1" dirty="0"/>
              <a:t>Del 1 som är introduktion/Kartläggning under 2 månader  i Svingeln, förmiddagar alla veckodagar. RUSTA deltagaren inför arbete och utbildning</a:t>
            </a:r>
            <a:endParaRPr lang="sv-SE" b="1" dirty="0">
              <a:ea typeface="Calibri"/>
              <a:cs typeface="Calibri"/>
            </a:endParaRPr>
          </a:p>
          <a:p>
            <a:r>
              <a:rPr lang="sv-SE" dirty="0"/>
              <a:t>Vi kommer att arbeta med hälsa, arbetsmarknadskunskap, motivation, jämställdhet och hållbarhet. </a:t>
            </a:r>
            <a:endParaRPr lang="sv-SE" dirty="0">
              <a:ea typeface="Calibri"/>
              <a:cs typeface="Calibri"/>
            </a:endParaRPr>
          </a:p>
          <a:p>
            <a:r>
              <a:rPr lang="sv-SE" dirty="0"/>
              <a:t>Gruppaktiviteterna syftar till att kartlägga deltagarnas styrkor, utmaningar samt skapa gemenskap för att stärka arbetet med deras individuella planer. </a:t>
            </a:r>
            <a:endParaRPr lang="sv-SE" dirty="0">
              <a:ea typeface="Calibri"/>
              <a:cs typeface="Calibri"/>
            </a:endParaRPr>
          </a:p>
          <a:p>
            <a:r>
              <a:rPr lang="sv-SE" dirty="0"/>
              <a:t>Deltagarna kommer att delta i olika </a:t>
            </a:r>
            <a:r>
              <a:rPr lang="sv-SE" b="1" dirty="0"/>
              <a:t> Aktiviteter</a:t>
            </a:r>
            <a:r>
              <a:rPr lang="sv-SE" dirty="0"/>
              <a:t> inom hälsa, coaching, arbetsmarknaden, jämställdhet.</a:t>
            </a:r>
            <a:endParaRPr lang="sv-SE" dirty="0">
              <a:ea typeface="Calibri"/>
              <a:cs typeface="Calibri"/>
            </a:endParaRPr>
          </a:p>
          <a:p>
            <a:r>
              <a:rPr lang="sv-SE" dirty="0"/>
              <a:t> </a:t>
            </a:r>
            <a:endParaRPr lang="sv-SE" dirty="0">
              <a:ea typeface="Calibri"/>
              <a:cs typeface="Calibri"/>
            </a:endParaRPr>
          </a:p>
          <a:p>
            <a:r>
              <a:rPr lang="sv-SE" b="1" dirty="0"/>
              <a:t>Workshop och föreläsningar;</a:t>
            </a:r>
            <a:r>
              <a:rPr lang="sv-SE" dirty="0"/>
              <a:t> utbildningsmöjligheter, hjälp att boka individuellt möte med studievägledare, skriva CV och personligt brev. </a:t>
            </a:r>
            <a:endParaRPr lang="sv-SE" dirty="0">
              <a:ea typeface="Calibri"/>
              <a:cs typeface="Calibri"/>
            </a:endParaRPr>
          </a:p>
          <a:p>
            <a:r>
              <a:rPr lang="sv-SE" dirty="0"/>
              <a:t> </a:t>
            </a:r>
            <a:endParaRPr lang="sv-SE" dirty="0">
              <a:ea typeface="Calibri" panose="020F0502020204030204"/>
              <a:cs typeface="Calibri" panose="020F0502020204030204"/>
            </a:endParaRPr>
          </a:p>
          <a:p>
            <a:r>
              <a:rPr lang="sv-SE" b="1" dirty="0"/>
              <a:t>Del 2 Arbetsträning/Praktik under 3 månader</a:t>
            </a:r>
            <a:r>
              <a:rPr lang="sv-SE" dirty="0"/>
              <a:t> Där vi kommer se, vad kan deltagaren, vad vill deltagaren, klarar deltagaren att utföra sina arbetsuppgifter, hur är arbetstempot, behöver deltagaren anpassningar.</a:t>
            </a:r>
            <a:endParaRPr lang="sv-SE" dirty="0">
              <a:ea typeface="Calibri"/>
              <a:cs typeface="Calibri"/>
            </a:endParaRPr>
          </a:p>
          <a:p>
            <a:endParaRPr lang="sv-SE" dirty="0"/>
          </a:p>
          <a:p>
            <a:r>
              <a:rPr lang="sv-SE" dirty="0"/>
              <a:t>KOMMER vi att ägna tid åt arbetsträning eller arbetspraktik för deltagaren. Detta steg syftar till att deltagaren ska få möjlighet att utveckla sina kompetenser och ge deltagaren påfylld självkänsla och självförtroende. </a:t>
            </a:r>
            <a:endParaRPr lang="sv-SE" dirty="0">
              <a:ea typeface="Calibri"/>
              <a:cs typeface="Calibri"/>
            </a:endParaRPr>
          </a:p>
          <a:p>
            <a:r>
              <a:rPr lang="sv-SE" dirty="0"/>
              <a:t>Upptrappning i en omfattning på 100%, heltid, 40 timmar i veckan.</a:t>
            </a:r>
            <a:endParaRPr lang="sv-SE" dirty="0">
              <a:ea typeface="Calibri"/>
              <a:cs typeface="Calibri"/>
            </a:endParaRPr>
          </a:p>
          <a:p>
            <a:r>
              <a:rPr lang="sv-SE" dirty="0"/>
              <a:t>Deltagaren har möjlighet att arbetsträna inom våra verksamheter som är i; </a:t>
            </a:r>
            <a:endParaRPr lang="sv-SE" dirty="0">
              <a:ea typeface="Calibri"/>
              <a:cs typeface="Calibri"/>
            </a:endParaRPr>
          </a:p>
          <a:p>
            <a:r>
              <a:rPr lang="sv-SE" dirty="0"/>
              <a:t> </a:t>
            </a:r>
            <a:endParaRPr lang="sv-SE" dirty="0">
              <a:ea typeface="Calibri"/>
              <a:cs typeface="Calibri"/>
            </a:endParaRPr>
          </a:p>
          <a:p>
            <a:r>
              <a:rPr lang="sv-SE" b="1" dirty="0"/>
              <a:t>Kök/Restaurang; </a:t>
            </a:r>
            <a:r>
              <a:rPr lang="sv-SE" dirty="0"/>
              <a:t> </a:t>
            </a:r>
            <a:endParaRPr lang="sv-SE" dirty="0">
              <a:ea typeface="Calibri"/>
              <a:cs typeface="Calibri"/>
            </a:endParaRPr>
          </a:p>
          <a:p>
            <a:r>
              <a:rPr lang="sv-SE" dirty="0"/>
              <a:t>Arbetsträna med förberedelser av lunch och fika, servering, diskning och kassaförsäljning. </a:t>
            </a:r>
            <a:endParaRPr lang="sv-SE" dirty="0">
              <a:ea typeface="Calibri"/>
              <a:cs typeface="Calibri"/>
            </a:endParaRPr>
          </a:p>
          <a:p>
            <a:r>
              <a:rPr lang="sv-SE" dirty="0"/>
              <a:t>Restaurang Svinn i Svingeln. Intern lunchrestaurang samt </a:t>
            </a:r>
            <a:r>
              <a:rPr lang="sv-SE" dirty="0" err="1"/>
              <a:t>Take</a:t>
            </a:r>
            <a:r>
              <a:rPr lang="sv-SE" dirty="0"/>
              <a:t> </a:t>
            </a:r>
            <a:r>
              <a:rPr lang="sv-SE" dirty="0" err="1"/>
              <a:t>Away</a:t>
            </a:r>
            <a:r>
              <a:rPr lang="sv-SE" dirty="0"/>
              <a:t>, tillagar cirka 70 portioner per dag </a:t>
            </a:r>
            <a:endParaRPr lang="sv-SE" dirty="0">
              <a:ea typeface="Calibri"/>
              <a:cs typeface="Calibri"/>
            </a:endParaRPr>
          </a:p>
          <a:p>
            <a:r>
              <a:rPr lang="sv-SE" dirty="0"/>
              <a:t>Bräcke storkök Där man lagar mat till olika boenden samt Johanneskyrkan, cirka 500 portioner per dag. </a:t>
            </a:r>
            <a:endParaRPr lang="sv-SE" dirty="0">
              <a:ea typeface="Calibri"/>
              <a:cs typeface="Calibri"/>
            </a:endParaRPr>
          </a:p>
          <a:p>
            <a:r>
              <a:rPr lang="sv-SE" dirty="0"/>
              <a:t> </a:t>
            </a:r>
            <a:endParaRPr lang="sv-SE" dirty="0">
              <a:ea typeface="Calibri"/>
              <a:cs typeface="Calibri"/>
            </a:endParaRPr>
          </a:p>
          <a:p>
            <a:r>
              <a:rPr lang="sv-SE" b="1" dirty="0"/>
              <a:t>Vi har våra Second Hand butiker </a:t>
            </a:r>
            <a:r>
              <a:rPr lang="sv-SE" dirty="0"/>
              <a:t> </a:t>
            </a:r>
            <a:endParaRPr lang="sv-SE" dirty="0">
              <a:ea typeface="Calibri"/>
              <a:cs typeface="Calibri"/>
            </a:endParaRPr>
          </a:p>
          <a:p>
            <a:r>
              <a:rPr lang="sv-SE" dirty="0"/>
              <a:t>Ta emot leveranser, prismärkning </a:t>
            </a:r>
            <a:endParaRPr lang="sv-SE" dirty="0">
              <a:ea typeface="Calibri"/>
              <a:cs typeface="Calibri"/>
            </a:endParaRPr>
          </a:p>
          <a:p>
            <a:r>
              <a:rPr lang="sv-SE" dirty="0"/>
              <a:t>hålla ordning i butik, kundservice och </a:t>
            </a:r>
            <a:endParaRPr lang="sv-SE" dirty="0">
              <a:ea typeface="Calibri"/>
              <a:cs typeface="Calibri"/>
            </a:endParaRPr>
          </a:p>
          <a:p>
            <a:r>
              <a:rPr lang="sv-SE" dirty="0"/>
              <a:t>kassatjänst </a:t>
            </a:r>
            <a:endParaRPr lang="sv-SE" dirty="0">
              <a:ea typeface="Calibri"/>
              <a:cs typeface="Calibri"/>
            </a:endParaRPr>
          </a:p>
          <a:p>
            <a:r>
              <a:rPr lang="sv-SE" dirty="0"/>
              <a:t> </a:t>
            </a:r>
            <a:endParaRPr lang="sv-SE" dirty="0">
              <a:ea typeface="Calibri"/>
              <a:cs typeface="Calibri"/>
            </a:endParaRPr>
          </a:p>
          <a:p>
            <a:r>
              <a:rPr lang="sv-SE" b="1" dirty="0"/>
              <a:t>Frölunda</a:t>
            </a:r>
            <a:r>
              <a:rPr lang="sv-SE" dirty="0"/>
              <a:t> </a:t>
            </a:r>
            <a:endParaRPr lang="sv-SE" dirty="0">
              <a:ea typeface="Calibri"/>
              <a:cs typeface="Calibri"/>
            </a:endParaRPr>
          </a:p>
          <a:p>
            <a:r>
              <a:rPr lang="sv-SE" dirty="0"/>
              <a:t>Stor fullsortimentsbutik med hög fyndfaktor. </a:t>
            </a:r>
            <a:endParaRPr lang="sv-SE" dirty="0">
              <a:ea typeface="Calibri"/>
              <a:cs typeface="Calibri"/>
            </a:endParaRPr>
          </a:p>
          <a:p>
            <a:r>
              <a:rPr lang="sv-SE" dirty="0"/>
              <a:t> </a:t>
            </a:r>
            <a:endParaRPr lang="sv-SE" dirty="0">
              <a:ea typeface="Calibri"/>
              <a:cs typeface="Calibri"/>
            </a:endParaRPr>
          </a:p>
          <a:p>
            <a:r>
              <a:rPr lang="sv-SE" b="1" dirty="0"/>
              <a:t>Bellevue </a:t>
            </a:r>
            <a:r>
              <a:rPr lang="sv-SE" dirty="0"/>
              <a:t> </a:t>
            </a:r>
            <a:endParaRPr lang="sv-SE" dirty="0">
              <a:ea typeface="Calibri"/>
              <a:cs typeface="Calibri"/>
            </a:endParaRPr>
          </a:p>
          <a:p>
            <a:r>
              <a:rPr lang="sv-SE" dirty="0"/>
              <a:t>Stor butik i två plan med allt ifrån möbler, husgeråd, kläder och pyssel. </a:t>
            </a:r>
            <a:endParaRPr lang="sv-SE" dirty="0">
              <a:ea typeface="Calibri"/>
              <a:cs typeface="Calibri"/>
            </a:endParaRPr>
          </a:p>
          <a:p>
            <a:r>
              <a:rPr lang="sv-SE" dirty="0"/>
              <a:t> </a:t>
            </a:r>
            <a:endParaRPr lang="sv-SE" dirty="0">
              <a:ea typeface="Calibri"/>
              <a:cs typeface="Calibri"/>
            </a:endParaRPr>
          </a:p>
          <a:p>
            <a:r>
              <a:rPr lang="sv-SE" b="1" dirty="0"/>
              <a:t>Stigberget</a:t>
            </a:r>
            <a:r>
              <a:rPr lang="sv-SE" dirty="0"/>
              <a:t> </a:t>
            </a:r>
            <a:endParaRPr lang="sv-SE" dirty="0">
              <a:ea typeface="Calibri"/>
              <a:cs typeface="Calibri"/>
            </a:endParaRPr>
          </a:p>
          <a:p>
            <a:r>
              <a:rPr lang="sv-SE" dirty="0"/>
              <a:t>Butik med konst, musik, kläder, glas och porslin och stor välsorterad bok avdelning. </a:t>
            </a:r>
            <a:endParaRPr lang="sv-SE" dirty="0">
              <a:ea typeface="Calibri"/>
              <a:cs typeface="Calibri"/>
            </a:endParaRPr>
          </a:p>
          <a:p>
            <a:r>
              <a:rPr lang="sv-SE" dirty="0"/>
              <a:t> </a:t>
            </a:r>
            <a:endParaRPr lang="sv-SE" dirty="0">
              <a:ea typeface="Calibri"/>
              <a:cs typeface="Calibri"/>
            </a:endParaRPr>
          </a:p>
          <a:p>
            <a:r>
              <a:rPr lang="sv-SE" b="1" dirty="0"/>
              <a:t>Alelyckan</a:t>
            </a:r>
            <a:r>
              <a:rPr lang="sv-SE" dirty="0"/>
              <a:t> </a:t>
            </a:r>
            <a:endParaRPr lang="sv-SE" dirty="0">
              <a:ea typeface="Calibri"/>
              <a:cs typeface="Calibri"/>
            </a:endParaRPr>
          </a:p>
          <a:p>
            <a:r>
              <a:rPr lang="sv-SE" dirty="0"/>
              <a:t>Största butiken med fullsortiment, ej öppet måndagar. </a:t>
            </a:r>
            <a:endParaRPr lang="sv-SE" dirty="0">
              <a:ea typeface="Calibri"/>
              <a:cs typeface="Calibri"/>
            </a:endParaRPr>
          </a:p>
          <a:p>
            <a:r>
              <a:rPr lang="sv-SE" dirty="0"/>
              <a:t> </a:t>
            </a:r>
            <a:endParaRPr lang="sv-SE" dirty="0">
              <a:ea typeface="Calibri"/>
              <a:cs typeface="Calibri"/>
            </a:endParaRPr>
          </a:p>
          <a:p>
            <a:r>
              <a:rPr lang="sv-SE" b="1" dirty="0"/>
              <a:t>Arkaden ett Pop-</a:t>
            </a:r>
            <a:r>
              <a:rPr lang="sv-SE" b="1" dirty="0" err="1"/>
              <a:t>up</a:t>
            </a:r>
            <a:r>
              <a:rPr lang="sv-SE" b="1" dirty="0"/>
              <a:t> butik tillfälligt</a:t>
            </a:r>
            <a:endParaRPr lang="sv-SE" dirty="0"/>
          </a:p>
          <a:p>
            <a:r>
              <a:rPr lang="sv-SE" dirty="0"/>
              <a:t>Handplockat sortiment av modeartiklar</a:t>
            </a:r>
            <a:endParaRPr lang="sv-SE" dirty="0">
              <a:ea typeface="Calibri"/>
              <a:cs typeface="Calibri"/>
            </a:endParaRPr>
          </a:p>
          <a:p>
            <a:endParaRPr lang="sv-SE" dirty="0"/>
          </a:p>
          <a:p>
            <a:r>
              <a:rPr lang="sv-SE" b="1" dirty="0"/>
              <a:t>Angered</a:t>
            </a:r>
            <a:endParaRPr lang="sv-SE" dirty="0"/>
          </a:p>
          <a:p>
            <a:r>
              <a:rPr lang="sv-SE" dirty="0"/>
              <a:t>Här är fyndfaktorn hög när alla kläder säljs för 79 kr/kilot och textilier för 49 kr/kg.</a:t>
            </a:r>
            <a:endParaRPr lang="sv-SE" dirty="0">
              <a:ea typeface="Calibri"/>
              <a:cs typeface="Calibri"/>
            </a:endParaRPr>
          </a:p>
          <a:p>
            <a:endParaRPr lang="sv-SE" b="1" dirty="0">
              <a:ea typeface="Calibri"/>
              <a:cs typeface="Calibri"/>
            </a:endParaRPr>
          </a:p>
          <a:p>
            <a:r>
              <a:rPr lang="sv-SE" b="1" dirty="0"/>
              <a:t>Borås </a:t>
            </a:r>
            <a:r>
              <a:rPr lang="sv-SE" dirty="0"/>
              <a:t> </a:t>
            </a:r>
            <a:endParaRPr lang="sv-SE" dirty="0">
              <a:ea typeface="Calibri"/>
              <a:cs typeface="Calibri"/>
            </a:endParaRPr>
          </a:p>
          <a:p>
            <a:r>
              <a:rPr lang="sv-SE" b="1" dirty="0"/>
              <a:t>Som vi öppnade 2024</a:t>
            </a:r>
            <a:r>
              <a:rPr lang="sv-SE" dirty="0"/>
              <a:t> </a:t>
            </a:r>
            <a:endParaRPr lang="sv-SE" dirty="0">
              <a:ea typeface="Calibri"/>
              <a:cs typeface="Calibri"/>
            </a:endParaRPr>
          </a:p>
          <a:p>
            <a:r>
              <a:rPr lang="sv-SE" dirty="0"/>
              <a:t> </a:t>
            </a:r>
            <a:endParaRPr lang="sv-SE" dirty="0">
              <a:ea typeface="Calibri"/>
              <a:cs typeface="Calibri"/>
            </a:endParaRPr>
          </a:p>
          <a:p>
            <a:r>
              <a:rPr lang="sv-SE" dirty="0"/>
              <a:t> </a:t>
            </a:r>
            <a:endParaRPr lang="sv-SE" dirty="0">
              <a:ea typeface="Calibri"/>
              <a:cs typeface="Calibri"/>
            </a:endParaRPr>
          </a:p>
          <a:p>
            <a:r>
              <a:rPr lang="sv-SE" b="1" dirty="0"/>
              <a:t>Tradera</a:t>
            </a:r>
            <a:r>
              <a:rPr lang="sv-SE" dirty="0"/>
              <a:t>, Handplockat sortiment av modeartiklar och prylar. </a:t>
            </a:r>
            <a:endParaRPr lang="sv-SE" dirty="0">
              <a:ea typeface="Calibri"/>
              <a:cs typeface="Calibri"/>
            </a:endParaRPr>
          </a:p>
          <a:p>
            <a:r>
              <a:rPr lang="sv-SE" dirty="0"/>
              <a:t>Det är E-handel i digitala system .</a:t>
            </a:r>
            <a:endParaRPr lang="sv-SE" dirty="0">
              <a:ea typeface="Calibri"/>
              <a:cs typeface="Calibri"/>
            </a:endParaRPr>
          </a:p>
          <a:p>
            <a:r>
              <a:rPr lang="sv-SE" dirty="0"/>
              <a:t>Arbetsuppgifterna är produktupplägg , orderhantering , packning och fotografering. </a:t>
            </a:r>
            <a:endParaRPr lang="sv-SE" dirty="0">
              <a:ea typeface="Calibri"/>
              <a:cs typeface="Calibri"/>
            </a:endParaRPr>
          </a:p>
          <a:p>
            <a:r>
              <a:rPr lang="sv-SE" dirty="0"/>
              <a:t> </a:t>
            </a:r>
            <a:endParaRPr lang="sv-SE" dirty="0">
              <a:ea typeface="Calibri"/>
              <a:cs typeface="Calibri"/>
            </a:endParaRPr>
          </a:p>
          <a:p>
            <a:r>
              <a:rPr lang="sv-SE" dirty="0"/>
              <a:t>Matcentralen-som får TONVIS med skänkta livsmedel från Ica, Dagab och </a:t>
            </a:r>
            <a:r>
              <a:rPr lang="sv-SE" dirty="0" err="1"/>
              <a:t>MatHem</a:t>
            </a:r>
            <a:endParaRPr lang="sv-SE" dirty="0" err="1">
              <a:ea typeface="Calibri"/>
              <a:cs typeface="Calibri"/>
            </a:endParaRPr>
          </a:p>
          <a:p>
            <a:r>
              <a:rPr lang="sv-SE" b="1" dirty="0"/>
              <a:t>Inom lager </a:t>
            </a:r>
            <a:r>
              <a:rPr lang="sv-SE" dirty="0"/>
              <a:t>så är arbetsuppgifterna; Uppackning, sortering och packning </a:t>
            </a:r>
            <a:endParaRPr lang="sv-SE" dirty="0">
              <a:ea typeface="Calibri"/>
              <a:cs typeface="Calibri"/>
            </a:endParaRPr>
          </a:p>
          <a:p>
            <a:r>
              <a:rPr lang="sv-SE" dirty="0"/>
              <a:t> </a:t>
            </a:r>
            <a:endParaRPr lang="sv-SE" dirty="0">
              <a:ea typeface="Calibri"/>
              <a:cs typeface="Calibri"/>
            </a:endParaRPr>
          </a:p>
          <a:p>
            <a:r>
              <a:rPr lang="sv-SE" b="1" dirty="0"/>
              <a:t>Inom transport </a:t>
            </a:r>
            <a:endParaRPr lang="sv-SE" b="1" dirty="0">
              <a:ea typeface="Calibri"/>
              <a:cs typeface="Calibri"/>
            </a:endParaRPr>
          </a:p>
          <a:p>
            <a:r>
              <a:rPr lang="sv-SE" dirty="0"/>
              <a:t>Upphämtning av livsmedel och utkörning av packade livsmedel till Stadsmissionens verksamheter och restauranger </a:t>
            </a:r>
            <a:endParaRPr lang="sv-SE" dirty="0">
              <a:ea typeface="Calibri"/>
              <a:cs typeface="Calibri"/>
            </a:endParaRPr>
          </a:p>
          <a:p>
            <a:r>
              <a:rPr lang="sv-SE" dirty="0"/>
              <a:t> </a:t>
            </a:r>
            <a:endParaRPr lang="sv-SE" dirty="0">
              <a:ea typeface="Calibri"/>
              <a:cs typeface="Calibri"/>
            </a:endParaRPr>
          </a:p>
          <a:p>
            <a:r>
              <a:rPr lang="sv-SE" dirty="0"/>
              <a:t>Vi har också</a:t>
            </a:r>
            <a:r>
              <a:rPr lang="sv-SE" b="1" dirty="0"/>
              <a:t> Insamlingscentralen</a:t>
            </a:r>
            <a:r>
              <a:rPr lang="sv-SE" dirty="0"/>
              <a:t> </a:t>
            </a:r>
            <a:endParaRPr lang="sv-SE" dirty="0">
              <a:ea typeface="Calibri"/>
              <a:cs typeface="Calibri"/>
            </a:endParaRPr>
          </a:p>
          <a:p>
            <a:r>
              <a:rPr lang="sv-SE" dirty="0"/>
              <a:t>Som är uppdelat i två avdelningar; Prylar och textil </a:t>
            </a:r>
            <a:endParaRPr lang="sv-SE" dirty="0">
              <a:ea typeface="Calibri"/>
              <a:cs typeface="Calibri"/>
            </a:endParaRPr>
          </a:p>
          <a:p>
            <a:r>
              <a:rPr lang="sv-SE" dirty="0"/>
              <a:t> </a:t>
            </a:r>
            <a:endParaRPr lang="sv-SE" dirty="0">
              <a:ea typeface="Calibri"/>
              <a:cs typeface="Calibri"/>
            </a:endParaRPr>
          </a:p>
          <a:p>
            <a:r>
              <a:rPr lang="sv-SE" b="1" dirty="0"/>
              <a:t>Lager</a:t>
            </a:r>
            <a:r>
              <a:rPr lang="sv-SE" dirty="0"/>
              <a:t> inom </a:t>
            </a:r>
            <a:r>
              <a:rPr lang="sv-SE" b="1" dirty="0"/>
              <a:t>Insamlingscentralen</a:t>
            </a:r>
            <a:r>
              <a:rPr lang="sv-SE" dirty="0"/>
              <a:t> </a:t>
            </a:r>
            <a:endParaRPr lang="sv-SE" dirty="0">
              <a:ea typeface="Calibri"/>
              <a:cs typeface="Calibri"/>
            </a:endParaRPr>
          </a:p>
          <a:p>
            <a:r>
              <a:rPr lang="sv-SE" dirty="0"/>
              <a:t>Då är det sortering och bedömning, värdering, prismärkning och packning av leveranser </a:t>
            </a:r>
            <a:endParaRPr lang="sv-SE" dirty="0">
              <a:ea typeface="Calibri"/>
              <a:cs typeface="Calibri"/>
            </a:endParaRPr>
          </a:p>
          <a:p>
            <a:r>
              <a:rPr lang="sv-SE" dirty="0"/>
              <a:t> </a:t>
            </a:r>
            <a:endParaRPr lang="sv-SE" dirty="0">
              <a:ea typeface="Calibri"/>
              <a:cs typeface="Calibri"/>
            </a:endParaRPr>
          </a:p>
          <a:p>
            <a:r>
              <a:rPr lang="sv-SE" b="1" dirty="0"/>
              <a:t>Transport</a:t>
            </a:r>
            <a:r>
              <a:rPr lang="sv-SE" dirty="0"/>
              <a:t> inom </a:t>
            </a:r>
            <a:r>
              <a:rPr lang="sv-SE" b="1" dirty="0"/>
              <a:t>Insamlingscentralen</a:t>
            </a:r>
            <a:r>
              <a:rPr lang="sv-SE" dirty="0"/>
              <a:t> </a:t>
            </a:r>
            <a:endParaRPr lang="sv-SE" dirty="0">
              <a:ea typeface="Calibri"/>
              <a:cs typeface="Calibri"/>
            </a:endParaRPr>
          </a:p>
          <a:p>
            <a:r>
              <a:rPr lang="sv-SE" dirty="0"/>
              <a:t>Arbetsuppgifterna är upphämtning av gåvor och utkörning av leveranser till våra secondhand butiker </a:t>
            </a:r>
            <a:endParaRPr lang="sv-SE" dirty="0">
              <a:ea typeface="Calibri"/>
              <a:cs typeface="Calibri"/>
            </a:endParaRPr>
          </a:p>
          <a:p>
            <a:r>
              <a:rPr lang="sv-SE" dirty="0"/>
              <a:t> </a:t>
            </a:r>
            <a:endParaRPr lang="sv-SE" dirty="0">
              <a:ea typeface="Calibri"/>
              <a:cs typeface="Calibri"/>
            </a:endParaRPr>
          </a:p>
          <a:p>
            <a:r>
              <a:rPr lang="sv-SE" dirty="0"/>
              <a:t>Arbetet är stationsbaserat inom</a:t>
            </a:r>
            <a:r>
              <a:rPr lang="sv-SE" b="1" dirty="0"/>
              <a:t> Insamlingen</a:t>
            </a:r>
            <a:r>
              <a:rPr lang="sv-SE" dirty="0"/>
              <a:t> och man arbetar självständigt i ett produktionsteam. </a:t>
            </a:r>
            <a:endParaRPr lang="sv-SE" dirty="0">
              <a:ea typeface="Calibri"/>
              <a:cs typeface="Calibri"/>
            </a:endParaRPr>
          </a:p>
          <a:p>
            <a:endParaRPr lang="sv-SE" dirty="0"/>
          </a:p>
          <a:p>
            <a:r>
              <a:rPr lang="sv-SE" b="1" dirty="0"/>
              <a:t>Remake</a:t>
            </a:r>
            <a:r>
              <a:rPr lang="sv-SE" dirty="0"/>
              <a:t> som är inom </a:t>
            </a:r>
            <a:r>
              <a:rPr lang="sv-SE" b="1" dirty="0"/>
              <a:t>SNICKERI</a:t>
            </a:r>
            <a:r>
              <a:rPr lang="sv-SE" dirty="0"/>
              <a:t> och </a:t>
            </a:r>
            <a:r>
              <a:rPr lang="sv-SE" b="1" dirty="0"/>
              <a:t>TEXTIL</a:t>
            </a:r>
            <a:endParaRPr lang="sv-SE" b="1" dirty="0">
              <a:ea typeface="Calibri"/>
              <a:cs typeface="Calibri"/>
            </a:endParaRPr>
          </a:p>
          <a:p>
            <a:r>
              <a:rPr lang="sv-SE" dirty="0"/>
              <a:t>Där man producerar nya designprodukter på material som skulle ha kastats. Visste ni att det går åt 8000 - 29000 liter vatten för att tillverka ett par jeans?</a:t>
            </a:r>
            <a:endParaRPr lang="sv-SE" dirty="0">
              <a:ea typeface="Calibri"/>
              <a:cs typeface="Calibri"/>
            </a:endParaRPr>
          </a:p>
          <a:p>
            <a:r>
              <a:rPr lang="sv-SE" dirty="0"/>
              <a:t>Inom SNICKERI så arbetar man med återvunnet trämaterial för att producera nya designprodukter som säljs till butik och företag. </a:t>
            </a:r>
          </a:p>
          <a:p>
            <a:r>
              <a:rPr lang="sv-SE" dirty="0"/>
              <a:t>Arbetet är stationsbaserat med bland annat kapning/sågning, limning och oljning. </a:t>
            </a:r>
            <a:endParaRPr lang="sv-SE" dirty="0">
              <a:ea typeface="Calibri"/>
              <a:cs typeface="Calibri"/>
            </a:endParaRPr>
          </a:p>
          <a:p>
            <a:r>
              <a:rPr lang="sv-SE" dirty="0"/>
              <a:t>Inom TEXTIL så arbetar man med tillskärning, klippning, strykning, maskinsömnad och så har vi ett samarbete med ett företag som heter SKRYTA och det LAMPSKÄRMAR där vi tillverkar genom att knyta och nita. </a:t>
            </a:r>
            <a:endParaRPr lang="sv-SE" dirty="0">
              <a:ea typeface="Calibri"/>
              <a:cs typeface="Calibri"/>
            </a:endParaRPr>
          </a:p>
          <a:p>
            <a:r>
              <a:rPr lang="sv-SE" dirty="0"/>
              <a:t>Det är en handgjord lampa av spillmaterial, material som redan är tillverkat och det kan vara både konsumentspill eller från industriell tillverkning. </a:t>
            </a:r>
            <a:endParaRPr lang="sv-SE" dirty="0">
              <a:ea typeface="Calibri"/>
              <a:cs typeface="Calibri"/>
            </a:endParaRPr>
          </a:p>
          <a:p>
            <a:r>
              <a:rPr lang="sv-SE" dirty="0"/>
              <a:t>Lampskärmarna finns i hotell och just nu är det stor beställning för ett hotell i Norge. Hade några bilder på dessa lampskärmar i förra sliden.</a:t>
            </a:r>
            <a:endParaRPr lang="sv-SE" dirty="0">
              <a:ea typeface="Calibri"/>
              <a:cs typeface="Calibri"/>
            </a:endParaRPr>
          </a:p>
          <a:p>
            <a:r>
              <a:rPr lang="sv-SE" dirty="0"/>
              <a:t>Inom textil så kan man använda sig av BILDSTÖD </a:t>
            </a:r>
            <a:endParaRPr lang="sv-SE" dirty="0">
              <a:ea typeface="Calibri"/>
              <a:cs typeface="Calibri"/>
            </a:endParaRPr>
          </a:p>
          <a:p>
            <a:r>
              <a:rPr lang="sv-SE" dirty="0"/>
              <a:t> </a:t>
            </a:r>
            <a:endParaRPr lang="sv-SE" dirty="0">
              <a:ea typeface="Calibri"/>
              <a:cs typeface="Calibri"/>
            </a:endParaRPr>
          </a:p>
          <a:p>
            <a:r>
              <a:rPr lang="sv-SE" b="1" dirty="0"/>
              <a:t>Lokalvård</a:t>
            </a:r>
            <a:r>
              <a:rPr lang="sv-SE" dirty="0"/>
              <a:t> </a:t>
            </a:r>
            <a:endParaRPr lang="sv-SE" dirty="0">
              <a:ea typeface="Calibri"/>
              <a:cs typeface="Calibri"/>
            </a:endParaRPr>
          </a:p>
          <a:p>
            <a:r>
              <a:rPr lang="sv-SE" dirty="0"/>
              <a:t>Arbetsuppgifter som exempelvis: </a:t>
            </a:r>
            <a:endParaRPr lang="sv-SE" dirty="0">
              <a:ea typeface="Calibri"/>
              <a:cs typeface="Calibri"/>
            </a:endParaRPr>
          </a:p>
          <a:p>
            <a:r>
              <a:rPr lang="sv-SE" dirty="0"/>
              <a:t>Torkning av golv, fönster och speglar, arbeta ergonomiskt och med olika städmedel. </a:t>
            </a:r>
            <a:endParaRPr lang="sv-SE" dirty="0">
              <a:ea typeface="Calibri"/>
              <a:cs typeface="Calibri"/>
            </a:endParaRPr>
          </a:p>
          <a:p>
            <a:r>
              <a:rPr lang="sv-SE" dirty="0"/>
              <a:t> </a:t>
            </a:r>
            <a:endParaRPr lang="sv-SE" dirty="0">
              <a:ea typeface="Calibri"/>
              <a:cs typeface="Calibri"/>
            </a:endParaRPr>
          </a:p>
          <a:p>
            <a:r>
              <a:rPr lang="sv-SE" b="1" dirty="0"/>
              <a:t>Del 3 Fördjupning i 2 månader Fortsättning på rusta deltagaren inför arbete eller utbildning</a:t>
            </a:r>
            <a:endParaRPr lang="sv-SE" b="1" dirty="0">
              <a:ea typeface="Calibri"/>
              <a:cs typeface="Calibri"/>
            </a:endParaRPr>
          </a:p>
          <a:p>
            <a:r>
              <a:rPr lang="sv-SE" dirty="0"/>
              <a:t>Deltagaren ska själv eller med hjälp av oss personal på Göteborgs Stadsmission att hitta arbetsgivare. </a:t>
            </a:r>
            <a:endParaRPr lang="sv-SE" dirty="0">
              <a:ea typeface="Calibri"/>
              <a:cs typeface="Calibri"/>
            </a:endParaRPr>
          </a:p>
          <a:p>
            <a:r>
              <a:rPr lang="sv-SE" dirty="0"/>
              <a:t>Arbetsgivare som jag redan varit i samtal med om projektet och har samarbetat med i flera år under mitt yrkesliv kommer för att prata om sina yrken och hur en arbetsgivare vill att man skall vara som anställd på en arbetsplats. </a:t>
            </a:r>
            <a:endParaRPr lang="sv-SE" dirty="0">
              <a:ea typeface="Calibri"/>
              <a:cs typeface="Calibri"/>
            </a:endParaRPr>
          </a:p>
          <a:p>
            <a:r>
              <a:rPr lang="sv-SE" dirty="0"/>
              <a:t>Dessa arbetsgivare har också möjlighet att ta några av våra deltagare. Om intresset finns hos deltagarna.</a:t>
            </a:r>
            <a:endParaRPr lang="sv-SE" dirty="0">
              <a:ea typeface="Calibri"/>
              <a:cs typeface="Calibri"/>
            </a:endParaRPr>
          </a:p>
          <a:p>
            <a:r>
              <a:rPr lang="sv-SE" dirty="0"/>
              <a:t>Denna del är att gruppen samlas igen för att reflektera, planera och stor fokus är att söka praktikplatser som ska leda till jobb. </a:t>
            </a:r>
            <a:endParaRPr lang="sv-SE" dirty="0">
              <a:ea typeface="Calibri"/>
              <a:cs typeface="Calibri"/>
            </a:endParaRPr>
          </a:p>
          <a:p>
            <a:r>
              <a:rPr lang="sv-SE" dirty="0"/>
              <a:t>  </a:t>
            </a:r>
            <a:endParaRPr lang="sv-SE" dirty="0">
              <a:ea typeface="Calibri"/>
              <a:cs typeface="Calibri"/>
            </a:endParaRPr>
          </a:p>
          <a:p>
            <a:r>
              <a:rPr lang="sv-SE" b="1" dirty="0"/>
              <a:t>Del 4 Praktik under 3 månader</a:t>
            </a:r>
            <a:r>
              <a:rPr lang="sv-SE" dirty="0"/>
              <a:t> </a:t>
            </a:r>
            <a:endParaRPr lang="sv-SE" dirty="0">
              <a:ea typeface="Calibri"/>
              <a:cs typeface="Calibri"/>
            </a:endParaRPr>
          </a:p>
          <a:p>
            <a:r>
              <a:rPr lang="sv-SE" dirty="0"/>
              <a:t>Deltagaren tar ansvar för sin sista del i insatsen som innebär en möjlighet att göra praktik på en eventuell framtida arbetsplats. Det finns både projektledare och projektmedarbetare som kan stötta i de individuella processerna som sker under del 4. </a:t>
            </a:r>
            <a:endParaRPr lang="sv-SE" dirty="0">
              <a:ea typeface="Calibri"/>
              <a:cs typeface="Calibri"/>
            </a:endParaRPr>
          </a:p>
          <a:p>
            <a:r>
              <a:rPr lang="sv-SE" dirty="0"/>
              <a:t>Praktiken skall leda till jobb, arbetsgivaren har kännedom om detta av oss personal vid innan start av praktiken. </a:t>
            </a:r>
            <a:endParaRPr lang="sv-SE" dirty="0">
              <a:ea typeface="Calibri"/>
              <a:cs typeface="Calibri"/>
            </a:endParaRPr>
          </a:p>
          <a:p>
            <a:r>
              <a:rPr lang="sv-SE" dirty="0"/>
              <a:t>Deltagaren har största ansvaret i sista delen som innebär att deltagaren kommer att göra sitt bästa för att få anställning </a:t>
            </a:r>
            <a:endParaRPr lang="sv-SE" dirty="0">
              <a:ea typeface="Calibri"/>
              <a:cs typeface="Calibri"/>
            </a:endParaRPr>
          </a:p>
          <a:p>
            <a:r>
              <a:rPr lang="sv-SE" dirty="0"/>
              <a:t> </a:t>
            </a:r>
            <a:endParaRPr lang="sv-SE" dirty="0">
              <a:ea typeface="Calibri"/>
              <a:cs typeface="Calibri"/>
            </a:endParaRPr>
          </a:p>
          <a:p>
            <a:endParaRPr lang="sv-SE" dirty="0">
              <a:ea typeface="Calibri"/>
              <a:cs typeface="Calibri"/>
            </a:endParaRPr>
          </a:p>
        </p:txBody>
      </p:sp>
      <p:sp>
        <p:nvSpPr>
          <p:cNvPr id="4" name="Platshållare för bildnummer 3"/>
          <p:cNvSpPr>
            <a:spLocks noGrp="1"/>
          </p:cNvSpPr>
          <p:nvPr>
            <p:ph type="sldNum" sz="quarter" idx="5"/>
          </p:nvPr>
        </p:nvSpPr>
        <p:spPr/>
        <p:txBody>
          <a:bodyPr/>
          <a:lstStyle/>
          <a:p>
            <a:fld id="{15EAF717-A70A-4FE7-8FBC-17424440763D}" type="slidenum">
              <a:rPr lang="sv-SE" smtClean="0"/>
              <a:t>10</a:t>
            </a:fld>
            <a:endParaRPr lang="sv-SE"/>
          </a:p>
        </p:txBody>
      </p:sp>
    </p:spTree>
    <p:extLst>
      <p:ext uri="{BB962C8B-B14F-4D97-AF65-F5344CB8AC3E}">
        <p14:creationId xmlns:p14="http://schemas.microsoft.com/office/powerpoint/2010/main" val="41767585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D88B72A-1E86-5E07-1A19-00A3EC71AAC8}"/>
              </a:ext>
            </a:extLst>
          </p:cNvPr>
          <p:cNvSpPr/>
          <p:nvPr userDrawn="1"/>
        </p:nvSpPr>
        <p:spPr>
          <a:xfrm>
            <a:off x="227013" y="225425"/>
            <a:ext cx="11737975" cy="640715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EDA663A2-8350-4C25-DD9E-19F8C01F021F}"/>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sv-SE"/>
              <a:t>Klicka här för att ändra mall för rubrikformat</a:t>
            </a:r>
            <a:endParaRPr lang="sv-SE" dirty="0"/>
          </a:p>
        </p:txBody>
      </p:sp>
      <p:sp>
        <p:nvSpPr>
          <p:cNvPr id="3" name="Underrubrik 2">
            <a:extLst>
              <a:ext uri="{FF2B5EF4-FFF2-40B4-BE49-F238E27FC236}">
                <a16:creationId xmlns:a16="http://schemas.microsoft.com/office/drawing/2014/main" id="{A40CD99C-4557-0D7B-8399-FED53F42ED5F}"/>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E87B80BC-E124-C618-5ACF-D59D1C0E17D2}"/>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81BFB3DE-668A-A2A2-CF3E-07FBB4424EF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0DFBDC7-2145-653E-08C1-E883ED0E72C1}"/>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10" name="Bildobjekt 9" descr="En bild som visar text&#10;&#10;Automatiskt genererad beskrivning">
            <a:extLst>
              <a:ext uri="{FF2B5EF4-FFF2-40B4-BE49-F238E27FC236}">
                <a16:creationId xmlns:a16="http://schemas.microsoft.com/office/drawing/2014/main" id="{DB7D30E8-1E78-1EB0-EDAE-F92684267C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7097" y="5429250"/>
            <a:ext cx="2355273" cy="1295400"/>
          </a:xfrm>
          <a:prstGeom prst="rect">
            <a:avLst/>
          </a:prstGeom>
        </p:spPr>
      </p:pic>
    </p:spTree>
    <p:extLst>
      <p:ext uri="{BB962C8B-B14F-4D97-AF65-F5344CB8AC3E}">
        <p14:creationId xmlns:p14="http://schemas.microsoft.com/office/powerpoint/2010/main" val="35635654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 och innehåll bild höger svart logg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225425"/>
            <a:ext cx="5868988" cy="6407150"/>
          </a:xfrm>
        </p:spPr>
        <p:txBody>
          <a:bodyPr/>
          <a:lstStyle>
            <a:lvl1pPr marL="0" indent="0">
              <a:buNone/>
              <a:defRPr/>
            </a:lvl1pPr>
          </a:lstStyle>
          <a:p>
            <a:r>
              <a:rPr lang="sv-SE" dirty="0"/>
              <a:t> </a:t>
            </a:r>
          </a:p>
        </p:txBody>
      </p:sp>
      <p:sp>
        <p:nvSpPr>
          <p:cNvPr id="9" name="Logo">
            <a:extLst>
              <a:ext uri="{FF2B5EF4-FFF2-40B4-BE49-F238E27FC236}">
                <a16:creationId xmlns:a16="http://schemas.microsoft.com/office/drawing/2014/main" id="{211104DB-C42D-F3E5-EDD7-F22097ED1665}"/>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36387338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 och innehåll bild vänster svart logg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6457951" y="476250"/>
            <a:ext cx="5218112"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6457950"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39713" y="225425"/>
            <a:ext cx="5868988" cy="6407150"/>
          </a:xfrm>
        </p:spPr>
        <p:txBody>
          <a:bodyPr/>
          <a:lstStyle>
            <a:lvl1pPr marL="0" indent="0">
              <a:buNone/>
              <a:defRPr/>
            </a:lvl1pPr>
          </a:lstStyle>
          <a:p>
            <a:r>
              <a:rPr lang="sv-SE" dirty="0"/>
              <a:t> </a:t>
            </a:r>
          </a:p>
        </p:txBody>
      </p:sp>
    </p:spTree>
    <p:extLst>
      <p:ext uri="{BB962C8B-B14F-4D97-AF65-F5344CB8AC3E}">
        <p14:creationId xmlns:p14="http://schemas.microsoft.com/office/powerpoint/2010/main" val="1497607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 och innehåll svart bild höger vit logg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225425"/>
            <a:ext cx="5868988"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lvl1pPr>
              <a:defRPr>
                <a:solidFill>
                  <a:schemeClr val="bg1"/>
                </a:solidFill>
              </a:defRPr>
            </a:lvl1p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7" name="Logo">
            <a:extLst>
              <a:ext uri="{FF2B5EF4-FFF2-40B4-BE49-F238E27FC236}">
                <a16:creationId xmlns:a16="http://schemas.microsoft.com/office/drawing/2014/main" id="{82B5D0E4-4A15-3022-11B1-7F24CBD902DD}"/>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17557473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och innehåll svart bild vänster vit logga">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77977EA-0DC0-DFCD-66D0-826002049B3E}"/>
              </a:ext>
            </a:extLst>
          </p:cNvPr>
          <p:cNvGraphicFramePr>
            <a:graphicFrameLocks noChangeAspect="1"/>
          </p:cNvGraphicFramePr>
          <p:nvPr userDrawn="1">
            <p:custDataLst>
              <p:tags r:id="rId1"/>
            </p:custDataLst>
            <p:extLst>
              <p:ext uri="{D42A27DB-BD31-4B8C-83A1-F6EECF244321}">
                <p14:modId xmlns:p14="http://schemas.microsoft.com/office/powerpoint/2010/main" val="1226198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77977EA-0DC0-DFCD-66D0-826002049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27013" y="225425"/>
            <a:ext cx="5868988"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6457951" y="476250"/>
            <a:ext cx="5218112" cy="1325563"/>
          </a:xfrm>
        </p:spPr>
        <p:txBody>
          <a:bodyPr vert="horz"/>
          <a:lstStyle>
            <a:lvl1pPr>
              <a:defRPr>
                <a:solidFill>
                  <a:schemeClr val="bg1"/>
                </a:solidFill>
              </a:defRPr>
            </a:lvl1p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6457950" y="1936750"/>
            <a:ext cx="5218113" cy="3644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13" name="Bildobjekt 12" descr="En bild som visar text&#10;&#10;Automatiskt genererad beskrivning">
            <a:extLst>
              <a:ext uri="{FF2B5EF4-FFF2-40B4-BE49-F238E27FC236}">
                <a16:creationId xmlns:a16="http://schemas.microsoft.com/office/drawing/2014/main" id="{0433165D-96C0-257B-125A-F080143143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53261" y="5768975"/>
            <a:ext cx="1783444" cy="980894"/>
          </a:xfrm>
          <a:prstGeom prst="rect">
            <a:avLst/>
          </a:prstGeom>
        </p:spPr>
      </p:pic>
    </p:spTree>
    <p:extLst>
      <p:ext uri="{BB962C8B-B14F-4D97-AF65-F5344CB8AC3E}">
        <p14:creationId xmlns:p14="http://schemas.microsoft.com/office/powerpoint/2010/main" val="26002166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bilder med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7" y="476250"/>
            <a:ext cx="11160125"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4256086"/>
            <a:ext cx="3522663" cy="132556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FBC5E198-BDDE-87DD-3FE7-1779C9343222}"/>
              </a:ext>
            </a:extLst>
          </p:cNvPr>
          <p:cNvSpPr>
            <a:spLocks noGrp="1"/>
          </p:cNvSpPr>
          <p:nvPr>
            <p:ph type="pic" sz="quarter" idx="13"/>
          </p:nvPr>
        </p:nvSpPr>
        <p:spPr>
          <a:xfrm>
            <a:off x="515938" y="1917700"/>
            <a:ext cx="3522662" cy="2209800"/>
          </a:xfrm>
        </p:spPr>
        <p:txBody>
          <a:bodyPr/>
          <a:lstStyle/>
          <a:p>
            <a:r>
              <a:rPr lang="sv-SE"/>
              <a:t>Klicka på ikonen för att lägga till en bild</a:t>
            </a:r>
          </a:p>
        </p:txBody>
      </p:sp>
      <p:sp>
        <p:nvSpPr>
          <p:cNvPr id="9" name="Platshållare för bild 7">
            <a:extLst>
              <a:ext uri="{FF2B5EF4-FFF2-40B4-BE49-F238E27FC236}">
                <a16:creationId xmlns:a16="http://schemas.microsoft.com/office/drawing/2014/main" id="{4DB1CBB8-1B20-EA0C-B2A4-B1D487283883}"/>
              </a:ext>
            </a:extLst>
          </p:cNvPr>
          <p:cNvSpPr>
            <a:spLocks noGrp="1"/>
          </p:cNvSpPr>
          <p:nvPr>
            <p:ph type="pic" sz="quarter" idx="14"/>
          </p:nvPr>
        </p:nvSpPr>
        <p:spPr>
          <a:xfrm>
            <a:off x="4334669" y="1917700"/>
            <a:ext cx="3522662" cy="2209800"/>
          </a:xfrm>
        </p:spPr>
        <p:txBody>
          <a:bodyPr/>
          <a:lstStyle/>
          <a:p>
            <a:r>
              <a:rPr lang="sv-SE"/>
              <a:t>Klicka på ikonen för att lägga till en bild</a:t>
            </a:r>
          </a:p>
        </p:txBody>
      </p:sp>
      <p:sp>
        <p:nvSpPr>
          <p:cNvPr id="10" name="Platshållare för bild 7">
            <a:extLst>
              <a:ext uri="{FF2B5EF4-FFF2-40B4-BE49-F238E27FC236}">
                <a16:creationId xmlns:a16="http://schemas.microsoft.com/office/drawing/2014/main" id="{594D1124-DE9F-82AE-B415-04DCD13B0549}"/>
              </a:ext>
            </a:extLst>
          </p:cNvPr>
          <p:cNvSpPr>
            <a:spLocks noGrp="1"/>
          </p:cNvSpPr>
          <p:nvPr>
            <p:ph type="pic" sz="quarter" idx="15"/>
          </p:nvPr>
        </p:nvSpPr>
        <p:spPr>
          <a:xfrm>
            <a:off x="8153400" y="1917700"/>
            <a:ext cx="3522662" cy="2209800"/>
          </a:xfrm>
        </p:spPr>
        <p:txBody>
          <a:bodyPr/>
          <a:lstStyle/>
          <a:p>
            <a:r>
              <a:rPr lang="sv-SE"/>
              <a:t>Klicka på ikonen för att lägga till en bild</a:t>
            </a:r>
          </a:p>
        </p:txBody>
      </p:sp>
      <p:sp>
        <p:nvSpPr>
          <p:cNvPr id="11" name="Platshållare för innehåll 2">
            <a:extLst>
              <a:ext uri="{FF2B5EF4-FFF2-40B4-BE49-F238E27FC236}">
                <a16:creationId xmlns:a16="http://schemas.microsoft.com/office/drawing/2014/main" id="{20CBBA4E-06D3-58D3-064B-6B58F510DB75}"/>
              </a:ext>
            </a:extLst>
          </p:cNvPr>
          <p:cNvSpPr>
            <a:spLocks noGrp="1"/>
          </p:cNvSpPr>
          <p:nvPr>
            <p:ph idx="16"/>
          </p:nvPr>
        </p:nvSpPr>
        <p:spPr>
          <a:xfrm>
            <a:off x="4334669" y="4256086"/>
            <a:ext cx="3522663" cy="132556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2" name="Platshållare för innehåll 2">
            <a:extLst>
              <a:ext uri="{FF2B5EF4-FFF2-40B4-BE49-F238E27FC236}">
                <a16:creationId xmlns:a16="http://schemas.microsoft.com/office/drawing/2014/main" id="{1C61A88B-0185-2402-12E8-B73F3ADAFF8F}"/>
              </a:ext>
            </a:extLst>
          </p:cNvPr>
          <p:cNvSpPr>
            <a:spLocks noGrp="1"/>
          </p:cNvSpPr>
          <p:nvPr>
            <p:ph idx="17"/>
          </p:nvPr>
        </p:nvSpPr>
        <p:spPr>
          <a:xfrm>
            <a:off x="8153400" y="4256086"/>
            <a:ext cx="3522663" cy="132556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623391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Utfallande bild text utan platta svart logga">
    <p:spTree>
      <p:nvGrpSpPr>
        <p:cNvPr id="1" name=""/>
        <p:cNvGrpSpPr/>
        <p:nvPr/>
      </p:nvGrpSpPr>
      <p:grpSpPr>
        <a:xfrm>
          <a:off x="0" y="0"/>
          <a:ext cx="0" cy="0"/>
          <a:chOff x="0" y="0"/>
          <a:chExt cx="0" cy="0"/>
        </a:xfrm>
      </p:grpSpPr>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27013" y="225425"/>
            <a:ext cx="11737975"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9" name="Logo">
            <a:extLst>
              <a:ext uri="{FF2B5EF4-FFF2-40B4-BE49-F238E27FC236}">
                <a16:creationId xmlns:a16="http://schemas.microsoft.com/office/drawing/2014/main" id="{B6F37D46-E458-1AE5-ADEF-C7C41831AFD3}"/>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308032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Utfallande bild text med vit platta vit logga">
    <p:spTree>
      <p:nvGrpSpPr>
        <p:cNvPr id="1" name=""/>
        <p:cNvGrpSpPr/>
        <p:nvPr/>
      </p:nvGrpSpPr>
      <p:grpSpPr>
        <a:xfrm>
          <a:off x="0" y="0"/>
          <a:ext cx="0" cy="0"/>
          <a:chOff x="0" y="0"/>
          <a:chExt cx="0" cy="0"/>
        </a:xfrm>
      </p:grpSpPr>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27013" y="225425"/>
            <a:ext cx="11737975"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lvl1pPr>
              <a:defRPr>
                <a:solidFill>
                  <a:schemeClr val="bg1"/>
                </a:solidFill>
              </a:defRPr>
            </a:lvl1p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a:solidFill>
            <a:srgbClr val="FFFFFF">
              <a:alpha val="80000"/>
            </a:srgbClr>
          </a:solidFill>
        </p:spPr>
        <p:txBody>
          <a:bodyPr lIns="144000" tIns="144000" rIns="144000" bIns="144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9" name="Logo">
            <a:extLst>
              <a:ext uri="{FF2B5EF4-FFF2-40B4-BE49-F238E27FC236}">
                <a16:creationId xmlns:a16="http://schemas.microsoft.com/office/drawing/2014/main" id="{E8BA11F1-D867-640C-5DA5-6E77EAABA47A}"/>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1299686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tfallande bild text svart platta svart logga">
    <p:spTree>
      <p:nvGrpSpPr>
        <p:cNvPr id="1" name=""/>
        <p:cNvGrpSpPr/>
        <p:nvPr/>
      </p:nvGrpSpPr>
      <p:grpSpPr>
        <a:xfrm>
          <a:off x="0" y="0"/>
          <a:ext cx="0" cy="0"/>
          <a:chOff x="0" y="0"/>
          <a:chExt cx="0" cy="0"/>
        </a:xfrm>
      </p:grpSpPr>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27013" y="225425"/>
            <a:ext cx="11737975"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p>
            <a:r>
              <a:rPr lang="sv-SE"/>
              <a:t>Klicka här för att ändra mall för rubrikformat</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7" name="Platshållare för bild 10">
            <a:extLst>
              <a:ext uri="{FF2B5EF4-FFF2-40B4-BE49-F238E27FC236}">
                <a16:creationId xmlns:a16="http://schemas.microsoft.com/office/drawing/2014/main" id="{D351CBE4-C849-9FA9-B3DB-8FB68CAB4298}"/>
              </a:ext>
            </a:extLst>
          </p:cNvPr>
          <p:cNvSpPr>
            <a:spLocks noGrp="1"/>
          </p:cNvSpPr>
          <p:nvPr>
            <p:ph type="pic" sz="quarter" idx="14" hasCustomPrompt="1"/>
          </p:nvPr>
        </p:nvSpPr>
        <p:spPr>
          <a:xfrm>
            <a:off x="10260122"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sv-SE" dirty="0"/>
              <a:t> </a:t>
            </a:r>
          </a:p>
        </p:txBody>
      </p:sp>
      <p:sp>
        <p:nvSpPr>
          <p:cNvPr id="9" name="Platshållare för innehåll 2">
            <a:extLst>
              <a:ext uri="{FF2B5EF4-FFF2-40B4-BE49-F238E27FC236}">
                <a16:creationId xmlns:a16="http://schemas.microsoft.com/office/drawing/2014/main" id="{B38992E2-F670-4649-2D35-CBA3FAB3FB13}"/>
              </a:ext>
            </a:extLst>
          </p:cNvPr>
          <p:cNvSpPr>
            <a:spLocks noGrp="1"/>
          </p:cNvSpPr>
          <p:nvPr>
            <p:ph idx="1"/>
          </p:nvPr>
        </p:nvSpPr>
        <p:spPr>
          <a:xfrm>
            <a:off x="515937" y="1936750"/>
            <a:ext cx="5218113" cy="3644900"/>
          </a:xfrm>
          <a:solidFill>
            <a:schemeClr val="tx1">
              <a:alpha val="80000"/>
            </a:schemeClr>
          </a:solidFill>
        </p:spPr>
        <p:txBody>
          <a:bodyPr lIns="144000" tIns="144000" rIns="144000" b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685704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EA5BB8-8C5F-52F8-6102-95010EF6F865}"/>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739F8E-2D34-1779-3AA5-99B8FFA6BBB2}"/>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4" name="Platshållare för sidfot 3">
            <a:extLst>
              <a:ext uri="{FF2B5EF4-FFF2-40B4-BE49-F238E27FC236}">
                <a16:creationId xmlns:a16="http://schemas.microsoft.com/office/drawing/2014/main" id="{CE23638B-D310-162F-B7E5-4B7D185FE146}"/>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0AA5AA3-CF41-B8A8-C8AD-71C239515EC4}"/>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5625481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14C13BF1-488A-9523-C2C8-6175A20E39AA}"/>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3" name="Platshållare för sidfot 2">
            <a:extLst>
              <a:ext uri="{FF2B5EF4-FFF2-40B4-BE49-F238E27FC236}">
                <a16:creationId xmlns:a16="http://schemas.microsoft.com/office/drawing/2014/main" id="{E121801E-5849-6443-7DB2-0927D3900091}"/>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BB81FFAC-C191-F0F0-910D-DBC4620E3D49}"/>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2330061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7" y="476250"/>
            <a:ext cx="10999787"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323979453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utsida">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39D88AD1-1022-2045-3803-256478AF8FAD}"/>
              </a:ext>
            </a:extLst>
          </p:cNvPr>
          <p:cNvSpPr/>
          <p:nvPr userDrawn="1"/>
        </p:nvSpPr>
        <p:spPr>
          <a:xfrm>
            <a:off x="227013" y="225425"/>
            <a:ext cx="11737975" cy="640715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a:extLst>
              <a:ext uri="{FF2B5EF4-FFF2-40B4-BE49-F238E27FC236}">
                <a16:creationId xmlns:a16="http://schemas.microsoft.com/office/drawing/2014/main" id="{14C13BF1-488A-9523-C2C8-6175A20E39AA}"/>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3" name="Platshållare för sidfot 2">
            <a:extLst>
              <a:ext uri="{FF2B5EF4-FFF2-40B4-BE49-F238E27FC236}">
                <a16:creationId xmlns:a16="http://schemas.microsoft.com/office/drawing/2014/main" id="{E121801E-5849-6443-7DB2-0927D3900091}"/>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BB81FFAC-C191-F0F0-910D-DBC4620E3D49}"/>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8" name="Bildobjekt 7" descr="En bild som visar text&#10;&#10;Automatiskt genererad beskrivning">
            <a:extLst>
              <a:ext uri="{FF2B5EF4-FFF2-40B4-BE49-F238E27FC236}">
                <a16:creationId xmlns:a16="http://schemas.microsoft.com/office/drawing/2014/main" id="{72292D71-5F43-0C14-CDF7-5883D16EA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75100" y="2262505"/>
            <a:ext cx="4241800" cy="2332990"/>
          </a:xfrm>
          <a:prstGeom prst="rect">
            <a:avLst/>
          </a:prstGeom>
        </p:spPr>
      </p:pic>
    </p:spTree>
    <p:extLst>
      <p:ext uri="{BB962C8B-B14F-4D97-AF65-F5344CB8AC3E}">
        <p14:creationId xmlns:p14="http://schemas.microsoft.com/office/powerpoint/2010/main" val="38078258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Rubrik och innehåll ljus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46F3C17-E8A9-EED9-4419-DEB292020082}"/>
              </a:ext>
            </a:extLst>
          </p:cNvPr>
          <p:cNvSpPr/>
          <p:nvPr userDrawn="1"/>
        </p:nvSpPr>
        <p:spPr>
          <a:xfrm>
            <a:off x="227013" y="225425"/>
            <a:ext cx="11737975" cy="64071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7" y="476250"/>
            <a:ext cx="10999787"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9" name="Bildobjekt 8">
            <a:extLst>
              <a:ext uri="{FF2B5EF4-FFF2-40B4-BE49-F238E27FC236}">
                <a16:creationId xmlns:a16="http://schemas.microsoft.com/office/drawing/2014/main" id="{CBB33541-215F-97F8-A3E8-1102BB434C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0123" y="5768975"/>
            <a:ext cx="1766455" cy="971550"/>
          </a:xfrm>
          <a:prstGeom prst="rect">
            <a:avLst/>
          </a:prstGeom>
        </p:spPr>
      </p:pic>
    </p:spTree>
    <p:extLst>
      <p:ext uri="{BB962C8B-B14F-4D97-AF65-F5344CB8AC3E}">
        <p14:creationId xmlns:p14="http://schemas.microsoft.com/office/powerpoint/2010/main" val="3034785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itatsida svar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objekt 6" descr="En bild som visar text&#10;&#10;Automatiskt genererad beskrivning">
            <a:extLst>
              <a:ext uri="{FF2B5EF4-FFF2-40B4-BE49-F238E27FC236}">
                <a16:creationId xmlns:a16="http://schemas.microsoft.com/office/drawing/2014/main" id="{308B4C32-AB70-D7F1-7877-2D18F003A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0121" y="5768975"/>
            <a:ext cx="1766455" cy="971550"/>
          </a:xfrm>
          <a:prstGeom prst="rect">
            <a:avLst/>
          </a:prstGeom>
        </p:spPr>
      </p:pic>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1699491" y="997527"/>
            <a:ext cx="8829964" cy="4771448"/>
          </a:xfrm>
        </p:spPr>
        <p:txBody>
          <a:bodyPr anchor="ctr">
            <a:normAutofit/>
          </a:bodyPr>
          <a:lstStyle>
            <a:lvl1pPr marL="0" indent="0">
              <a:buNone/>
              <a:defRPr sz="4400" b="1">
                <a:solidFill>
                  <a:schemeClr val="bg1"/>
                </a:solidFill>
              </a:defRPr>
            </a:lvl1pPr>
            <a:lvl2pPr>
              <a:defRPr sz="44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33573146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sida ljusblå">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2" name="Bildobjekt 1">
            <a:extLst>
              <a:ext uri="{FF2B5EF4-FFF2-40B4-BE49-F238E27FC236}">
                <a16:creationId xmlns:a16="http://schemas.microsoft.com/office/drawing/2014/main" id="{42804FFB-1A6A-EAD1-FA27-FFBD77421D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0123" y="5768975"/>
            <a:ext cx="1766455" cy="971550"/>
          </a:xfrm>
          <a:prstGeom prst="rect">
            <a:avLst/>
          </a:prstGeom>
        </p:spPr>
      </p:pic>
      <p:sp>
        <p:nvSpPr>
          <p:cNvPr id="3" name="Platshållare för innehåll 2">
            <a:extLst>
              <a:ext uri="{FF2B5EF4-FFF2-40B4-BE49-F238E27FC236}">
                <a16:creationId xmlns:a16="http://schemas.microsoft.com/office/drawing/2014/main" id="{FEBAB7CD-01C6-CE05-1B14-5ECD2C82EA54}"/>
              </a:ext>
            </a:extLst>
          </p:cNvPr>
          <p:cNvSpPr>
            <a:spLocks noGrp="1"/>
          </p:cNvSpPr>
          <p:nvPr>
            <p:ph idx="1"/>
          </p:nvPr>
        </p:nvSpPr>
        <p:spPr>
          <a:xfrm>
            <a:off x="1699491" y="997527"/>
            <a:ext cx="8829964" cy="4771448"/>
          </a:xfrm>
        </p:spPr>
        <p:txBody>
          <a:bodyPr anchor="ctr">
            <a:normAutofit/>
          </a:bodyPr>
          <a:lstStyle>
            <a:lvl1pPr marL="0" indent="0">
              <a:buNone/>
              <a:defRPr sz="4400" b="1">
                <a:solidFill>
                  <a:schemeClr val="tx1"/>
                </a:solidFill>
              </a:defRPr>
            </a:lvl1pPr>
            <a:lvl2pPr>
              <a:defRPr sz="44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Tree>
    <p:extLst>
      <p:ext uri="{BB962C8B-B14F-4D97-AF65-F5344CB8AC3E}">
        <p14:creationId xmlns:p14="http://schemas.microsoft.com/office/powerpoint/2010/main" val="201025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innehåll ljusblå bild höger vit logga">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F039CDD-FADA-2B64-5186-6796B162E77A}"/>
              </a:ext>
            </a:extLst>
          </p:cNvPr>
          <p:cNvGraphicFramePr>
            <a:graphicFrameLocks noChangeAspect="1"/>
          </p:cNvGraphicFramePr>
          <p:nvPr userDrawn="1">
            <p:custDataLst>
              <p:tags r:id="rId1"/>
            </p:custDataLst>
            <p:extLst>
              <p:ext uri="{D42A27DB-BD31-4B8C-83A1-F6EECF244321}">
                <p14:modId xmlns:p14="http://schemas.microsoft.com/office/powerpoint/2010/main" val="67282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DF039CDD-FADA-2B64-5186-6796B162E7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225425"/>
            <a:ext cx="5868988" cy="6407150"/>
          </a:xfrm>
        </p:spPr>
        <p:txBody>
          <a:bodyPr/>
          <a:lstStyle>
            <a:lvl1pPr marL="0" indent="0">
              <a:buNone/>
              <a:defRPr/>
            </a:lvl1pPr>
          </a:lstStyle>
          <a:p>
            <a:r>
              <a:rPr lang="sv-SE" dirty="0"/>
              <a:t> </a:t>
            </a:r>
          </a:p>
        </p:txBody>
      </p:sp>
      <p:sp>
        <p:nvSpPr>
          <p:cNvPr id="7" name="Logo">
            <a:extLst>
              <a:ext uri="{FF2B5EF4-FFF2-40B4-BE49-F238E27FC236}">
                <a16:creationId xmlns:a16="http://schemas.microsoft.com/office/drawing/2014/main" id="{544558EC-F460-4A3A-7C5C-FF07E42D29E9}"/>
              </a:ext>
            </a:extLst>
          </p:cNvPr>
          <p:cNvSpPr>
            <a:spLocks noGrp="1" noChangeAspect="1"/>
          </p:cNvSpPr>
          <p:nvPr>
            <p:ph type="body" sz="quarter" idx="16" hasCustomPrompt="1"/>
          </p:nvPr>
        </p:nvSpPr>
        <p:spPr>
          <a:xfrm>
            <a:off x="10260121" y="5768975"/>
            <a:ext cx="1766455" cy="971550"/>
          </a:xfrm>
          <a:blipFill dpi="0" rotWithShape="1">
            <a:blip r:embed="rId5">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vert="horz"/>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3910991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och innehåll ljusblå bild höger svart logg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225425"/>
            <a:ext cx="5868988"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7" name="Logo">
            <a:extLst>
              <a:ext uri="{FF2B5EF4-FFF2-40B4-BE49-F238E27FC236}">
                <a16:creationId xmlns:a16="http://schemas.microsoft.com/office/drawing/2014/main" id="{06C085FC-1A68-AC01-ADC6-8DF5747FFE42}"/>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8654932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och innehåll ljusblå bild vänster svart logga">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E972692-A1CC-EC72-707B-A92103D7816A}"/>
              </a:ext>
            </a:extLst>
          </p:cNvPr>
          <p:cNvGraphicFramePr>
            <a:graphicFrameLocks noChangeAspect="1"/>
          </p:cNvGraphicFramePr>
          <p:nvPr userDrawn="1">
            <p:custDataLst>
              <p:tags r:id="rId1"/>
            </p:custDataLst>
            <p:extLst>
              <p:ext uri="{D42A27DB-BD31-4B8C-83A1-F6EECF244321}">
                <p14:modId xmlns:p14="http://schemas.microsoft.com/office/powerpoint/2010/main" val="356821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5E972692-A1CC-EC72-707B-A92103D781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4188400F-3126-7990-7F2E-10959D5D7582}"/>
              </a:ext>
            </a:extLst>
          </p:cNvPr>
          <p:cNvSpPr/>
          <p:nvPr userDrawn="1"/>
        </p:nvSpPr>
        <p:spPr>
          <a:xfrm>
            <a:off x="227013" y="225425"/>
            <a:ext cx="11737975" cy="64071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27013" y="225425"/>
            <a:ext cx="5868988" cy="6407150"/>
          </a:xfrm>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6457951" y="476250"/>
            <a:ext cx="5218112" cy="1325563"/>
          </a:xfrm>
        </p:spPr>
        <p:txBody>
          <a:bodyPr vert="horz"/>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6457950"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13" name="Bildobjekt 12">
            <a:extLst>
              <a:ext uri="{FF2B5EF4-FFF2-40B4-BE49-F238E27FC236}">
                <a16:creationId xmlns:a16="http://schemas.microsoft.com/office/drawing/2014/main" id="{7C532F35-4CF8-FCA1-A056-D051289B8AF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60123" y="5768975"/>
            <a:ext cx="1766455" cy="971550"/>
          </a:xfrm>
          <a:prstGeom prst="rect">
            <a:avLst/>
          </a:prstGeom>
        </p:spPr>
      </p:pic>
    </p:spTree>
    <p:extLst>
      <p:ext uri="{BB962C8B-B14F-4D97-AF65-F5344CB8AC3E}">
        <p14:creationId xmlns:p14="http://schemas.microsoft.com/office/powerpoint/2010/main" val="1563209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ubrik och innehåll bild höger vit logg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923A53-2A63-1553-FED1-2E129E13B948}"/>
              </a:ext>
            </a:extLst>
          </p:cNvPr>
          <p:cNvSpPr>
            <a:spLocks noGrp="1"/>
          </p:cNvSpPr>
          <p:nvPr>
            <p:ph type="title"/>
          </p:nvPr>
        </p:nvSpPr>
        <p:spPr>
          <a:xfrm>
            <a:off x="515938" y="476250"/>
            <a:ext cx="5218112" cy="1325563"/>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515937" y="1936750"/>
            <a:ext cx="5218113" cy="36449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225425"/>
            <a:ext cx="5868988" cy="6407150"/>
          </a:xfrm>
        </p:spPr>
        <p:txBody>
          <a:bodyPr/>
          <a:lstStyle>
            <a:lvl1pPr marL="0" indent="0">
              <a:buNone/>
              <a:defRPr/>
            </a:lvl1pPr>
          </a:lstStyle>
          <a:p>
            <a:r>
              <a:rPr lang="sv-SE" dirty="0"/>
              <a:t> </a:t>
            </a:r>
          </a:p>
        </p:txBody>
      </p:sp>
      <p:sp>
        <p:nvSpPr>
          <p:cNvPr id="9" name="Logo">
            <a:extLst>
              <a:ext uri="{FF2B5EF4-FFF2-40B4-BE49-F238E27FC236}">
                <a16:creationId xmlns:a16="http://schemas.microsoft.com/office/drawing/2014/main" id="{887CF913-7624-0FB2-C73A-C5DD1F4C9EE5}"/>
              </a:ext>
            </a:extLst>
          </p:cNvPr>
          <p:cNvSpPr>
            <a:spLocks noGrp="1" noChangeAspect="1"/>
          </p:cNvSpPr>
          <p:nvPr>
            <p:ph type="body" sz="quarter" idx="16" hasCustomPrompt="1"/>
          </p:nvPr>
        </p:nvSpPr>
        <p:spPr>
          <a:xfrm>
            <a:off x="10260121" y="5768975"/>
            <a:ext cx="1766455" cy="971550"/>
          </a:xfrm>
          <a:blipFill dpi="0" rotWithShape="1">
            <a:blip r:embed="rId2">
              <a:extLst>
                <a:ext uri="{28A0092B-C50C-407E-A947-70E740481C1C}">
                  <a14:useLocalDpi xmlns:a14="http://schemas.microsoft.com/office/drawing/2010/main" val="0"/>
                </a:ext>
              </a:extLst>
            </a:blip>
            <a:srcRect/>
            <a:stretch>
              <a:fillRect/>
            </a:stretch>
          </a:blipFill>
        </p:spPr>
        <p:txBody>
          <a:bodyPr tIns="720000"/>
          <a:lstStyle>
            <a:lvl1pPr>
              <a:defRPr sz="100"/>
            </a:lvl1pPr>
          </a:lstStyle>
          <a:p>
            <a:pPr lvl="0"/>
            <a:r>
              <a:rPr lang="en-GB"/>
              <a:t>  </a:t>
            </a:r>
          </a:p>
        </p:txBody>
      </p:sp>
    </p:spTree>
    <p:extLst>
      <p:ext uri="{BB962C8B-B14F-4D97-AF65-F5344CB8AC3E}">
        <p14:creationId xmlns:p14="http://schemas.microsoft.com/office/powerpoint/2010/main" val="18427581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BC6A7CF-8E09-C816-F700-9857434D68F4}"/>
              </a:ext>
            </a:extLst>
          </p:cNvPr>
          <p:cNvGraphicFramePr>
            <a:graphicFrameLocks noChangeAspect="1"/>
          </p:cNvGraphicFramePr>
          <p:nvPr userDrawn="1">
            <p:custDataLst>
              <p:tags r:id="rId22"/>
            </p:custDataLst>
            <p:extLst>
              <p:ext uri="{D42A27DB-BD31-4B8C-83A1-F6EECF244321}">
                <p14:modId xmlns:p14="http://schemas.microsoft.com/office/powerpoint/2010/main" val="229473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8" name="think-cell data - do not delete" hidden="1">
                        <a:extLst>
                          <a:ext uri="{FF2B5EF4-FFF2-40B4-BE49-F238E27FC236}">
                            <a16:creationId xmlns:a16="http://schemas.microsoft.com/office/drawing/2014/main" id="{FBC6A7CF-8E09-C816-F700-9857434D68F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2D4642AF-1E3F-CDAE-2C62-E9B334ED5CE6}"/>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260123" y="5768975"/>
            <a:ext cx="1766455" cy="971550"/>
          </a:xfrm>
          <a:prstGeom prst="rect">
            <a:avLst/>
          </a:prstGeom>
        </p:spPr>
      </p:pic>
      <p:sp>
        <p:nvSpPr>
          <p:cNvPr id="2" name="Platshållare för rubrik 1">
            <a:extLst>
              <a:ext uri="{FF2B5EF4-FFF2-40B4-BE49-F238E27FC236}">
                <a16:creationId xmlns:a16="http://schemas.microsoft.com/office/drawing/2014/main" id="{40831B59-BAD7-1283-0FE1-5502186AA60D}"/>
              </a:ext>
            </a:extLst>
          </p:cNvPr>
          <p:cNvSpPr>
            <a:spLocks noGrp="1"/>
          </p:cNvSpPr>
          <p:nvPr>
            <p:ph type="title"/>
          </p:nvPr>
        </p:nvSpPr>
        <p:spPr>
          <a:xfrm>
            <a:off x="515938" y="476250"/>
            <a:ext cx="11160124" cy="1325563"/>
          </a:xfrm>
          <a:prstGeom prst="rect">
            <a:avLst/>
          </a:prstGeom>
        </p:spPr>
        <p:txBody>
          <a:bodyPr vert="horz" lIns="0" tIns="0" rIns="0" bIns="0" rtlCol="0" anchor="t">
            <a:norm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6F092C05-2B98-971F-9995-9D6B56227EE0}"/>
              </a:ext>
            </a:extLst>
          </p:cNvPr>
          <p:cNvSpPr>
            <a:spLocks noGrp="1"/>
          </p:cNvSpPr>
          <p:nvPr>
            <p:ph type="body" idx="1"/>
          </p:nvPr>
        </p:nvSpPr>
        <p:spPr>
          <a:xfrm>
            <a:off x="515937" y="1936750"/>
            <a:ext cx="11160125" cy="3644900"/>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33E29AC9-D5FC-CB8F-E68F-942CAFAD2250}"/>
              </a:ext>
            </a:extLst>
          </p:cNvPr>
          <p:cNvSpPr>
            <a:spLocks noGrp="1"/>
          </p:cNvSpPr>
          <p:nvPr>
            <p:ph type="dt" sz="half" idx="2"/>
          </p:nvPr>
        </p:nvSpPr>
        <p:spPr>
          <a:xfrm>
            <a:off x="838200" y="698500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087C922C-0ADB-6C1A-5494-294EAD7FD234}"/>
              </a:ext>
            </a:extLst>
          </p:cNvPr>
          <p:cNvSpPr>
            <a:spLocks noGrp="1"/>
          </p:cNvSpPr>
          <p:nvPr>
            <p:ph type="ftr" sz="quarter" idx="3"/>
          </p:nvPr>
        </p:nvSpPr>
        <p:spPr>
          <a:xfrm>
            <a:off x="4038600" y="698500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379B7687-0822-29B2-2682-0EACA784FB3A}"/>
              </a:ext>
            </a:extLst>
          </p:cNvPr>
          <p:cNvSpPr>
            <a:spLocks noGrp="1"/>
          </p:cNvSpPr>
          <p:nvPr>
            <p:ph type="sldNum" sz="quarter" idx="4"/>
          </p:nvPr>
        </p:nvSpPr>
        <p:spPr>
          <a:xfrm>
            <a:off x="7372350" y="707866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9323D4-22B5-4377-BA28-D029C18F0F02}" type="slidenum">
              <a:rPr lang="sv-SE" smtClean="0"/>
              <a:t>‹#›</a:t>
            </a:fld>
            <a:endParaRPr lang="sv-SE"/>
          </a:p>
        </p:txBody>
      </p:sp>
    </p:spTree>
    <p:extLst>
      <p:ext uri="{BB962C8B-B14F-4D97-AF65-F5344CB8AC3E}">
        <p14:creationId xmlns:p14="http://schemas.microsoft.com/office/powerpoint/2010/main" val="9175036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73" r:id="rId4"/>
    <p:sldLayoutId id="2147483674" r:id="rId5"/>
    <p:sldLayoutId id="2147483657" r:id="rId6"/>
    <p:sldLayoutId id="2147483672" r:id="rId7"/>
    <p:sldLayoutId id="2147483676" r:id="rId8"/>
    <p:sldLayoutId id="2147483667" r:id="rId9"/>
    <p:sldLayoutId id="2147483671" r:id="rId10"/>
    <p:sldLayoutId id="2147483658" r:id="rId11"/>
    <p:sldLayoutId id="2147483666" r:id="rId12"/>
    <p:sldLayoutId id="2147483677" r:id="rId13"/>
    <p:sldLayoutId id="2147483665" r:id="rId14"/>
    <p:sldLayoutId id="2147483660" r:id="rId15"/>
    <p:sldLayoutId id="2147483661" r:id="rId16"/>
    <p:sldLayoutId id="2147483669" r:id="rId17"/>
    <p:sldLayoutId id="2147483654" r:id="rId18"/>
    <p:sldLayoutId id="2147483655" r:id="rId19"/>
    <p:sldLayoutId id="2147483663" r:id="rId20"/>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143" userDrawn="1">
          <p15:clr>
            <a:srgbClr val="F26B43"/>
          </p15:clr>
        </p15:guide>
        <p15:guide id="3" pos="7537" userDrawn="1">
          <p15:clr>
            <a:srgbClr val="F26B43"/>
          </p15:clr>
        </p15:guide>
        <p15:guide id="4" orient="horz" pos="142" userDrawn="1">
          <p15:clr>
            <a:srgbClr val="F26B43"/>
          </p15:clr>
        </p15:guide>
        <p15:guide id="5" orient="horz" pos="4178" userDrawn="1">
          <p15:clr>
            <a:srgbClr val="F26B43"/>
          </p15:clr>
        </p15:guide>
        <p15:guide id="6" pos="325" userDrawn="1">
          <p15:clr>
            <a:srgbClr val="F26B43"/>
          </p15:clr>
        </p15:guide>
        <p15:guide id="7" orient="horz" pos="300" userDrawn="1">
          <p15:clr>
            <a:srgbClr val="F26B43"/>
          </p15:clr>
        </p15:guide>
        <p15:guide id="8" pos="7355" userDrawn="1">
          <p15:clr>
            <a:srgbClr val="F26B43"/>
          </p15:clr>
        </p15:guide>
        <p15:guide id="9" orient="horz" pos="363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0099E4A8-C00F-3796-457C-350E3BB45528}"/>
              </a:ext>
            </a:extLst>
          </p:cNvPr>
          <p:cNvSpPr>
            <a:spLocks noGrp="1"/>
          </p:cNvSpPr>
          <p:nvPr>
            <p:ph type="ctrTitle"/>
          </p:nvPr>
        </p:nvSpPr>
        <p:spPr/>
        <p:txBody>
          <a:bodyPr/>
          <a:lstStyle/>
          <a:p>
            <a:r>
              <a:rPr lang="sv-SE" noProof="0" dirty="0"/>
              <a:t>Välkomna</a:t>
            </a:r>
          </a:p>
        </p:txBody>
      </p:sp>
      <p:sp>
        <p:nvSpPr>
          <p:cNvPr id="7" name="Underrubrik 6">
            <a:extLst>
              <a:ext uri="{FF2B5EF4-FFF2-40B4-BE49-F238E27FC236}">
                <a16:creationId xmlns:a16="http://schemas.microsoft.com/office/drawing/2014/main" id="{145DE4FD-9824-8265-C59D-0EAC2D3AD184}"/>
              </a:ext>
            </a:extLst>
          </p:cNvPr>
          <p:cNvSpPr>
            <a:spLocks noGrp="1"/>
          </p:cNvSpPr>
          <p:nvPr>
            <p:ph type="subTitle" idx="1"/>
          </p:nvPr>
        </p:nvSpPr>
        <p:spPr/>
        <p:txBody>
          <a:bodyPr/>
          <a:lstStyle/>
          <a:p>
            <a:r>
              <a:rPr lang="sv-SE" noProof="0" dirty="0"/>
              <a:t>Nyckeln till verklig arbetsintegration</a:t>
            </a:r>
          </a:p>
        </p:txBody>
      </p:sp>
    </p:spTree>
    <p:extLst>
      <p:ext uri="{BB962C8B-B14F-4D97-AF65-F5344CB8AC3E}">
        <p14:creationId xmlns:p14="http://schemas.microsoft.com/office/powerpoint/2010/main" val="809016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ubrik 1">
            <a:extLst>
              <a:ext uri="{FF2B5EF4-FFF2-40B4-BE49-F238E27FC236}">
                <a16:creationId xmlns:a16="http://schemas.microsoft.com/office/drawing/2014/main" id="{69DEFBE1-1745-4617-8BB6-88BC6B8A1DED}"/>
              </a:ext>
            </a:extLst>
          </p:cNvPr>
          <p:cNvSpPr>
            <a:spLocks noGrp="1"/>
          </p:cNvSpPr>
          <p:nvPr>
            <p:ph type="title"/>
          </p:nvPr>
        </p:nvSpPr>
        <p:spPr/>
        <p:txBody>
          <a:bodyPr>
            <a:noAutofit/>
          </a:bodyPr>
          <a:lstStyle/>
          <a:p>
            <a:r>
              <a:rPr lang="sv-SE" noProof="0" dirty="0" err="1"/>
              <a:t>Pronto</a:t>
            </a:r>
            <a:r>
              <a:rPr lang="sv-SE" noProof="0" dirty="0"/>
              <a:t> 10 månader</a:t>
            </a:r>
          </a:p>
        </p:txBody>
      </p:sp>
      <p:sp>
        <p:nvSpPr>
          <p:cNvPr id="5" name="Platshållare för innehåll 4">
            <a:extLst>
              <a:ext uri="{FF2B5EF4-FFF2-40B4-BE49-F238E27FC236}">
                <a16:creationId xmlns:a16="http://schemas.microsoft.com/office/drawing/2014/main" id="{CF1BFE18-5430-64A5-A48F-2D6B36C43FD9}"/>
              </a:ext>
            </a:extLst>
          </p:cNvPr>
          <p:cNvSpPr>
            <a:spLocks noGrp="1"/>
          </p:cNvSpPr>
          <p:nvPr>
            <p:ph idx="1"/>
          </p:nvPr>
        </p:nvSpPr>
        <p:spPr>
          <a:xfrm>
            <a:off x="515142" y="1422651"/>
            <a:ext cx="3521072" cy="5280074"/>
          </a:xfrm>
        </p:spPr>
        <p:txBody>
          <a:bodyPr/>
          <a:lstStyle/>
          <a:p>
            <a:pPr marL="0" indent="0">
              <a:buNone/>
            </a:pPr>
            <a:r>
              <a:rPr lang="sv-SE" b="1" noProof="0" dirty="0"/>
              <a:t>Del 1 </a:t>
            </a:r>
          </a:p>
          <a:p>
            <a:pPr marL="0" indent="0">
              <a:buNone/>
            </a:pPr>
            <a:r>
              <a:rPr lang="sv-SE" noProof="0" dirty="0"/>
              <a:t>Introduktion/grundplanering</a:t>
            </a:r>
          </a:p>
          <a:p>
            <a:r>
              <a:rPr lang="sv-SE" noProof="0" dirty="0"/>
              <a:t>2 månader</a:t>
            </a:r>
          </a:p>
          <a:p>
            <a:r>
              <a:rPr lang="sv-SE" noProof="0" dirty="0"/>
              <a:t>Jobb och studie riktade aktiviteter </a:t>
            </a:r>
          </a:p>
          <a:p>
            <a:pPr marL="0" indent="0">
              <a:buNone/>
            </a:pPr>
            <a:endParaRPr lang="sv-SE" noProof="0" dirty="0"/>
          </a:p>
          <a:p>
            <a:pPr marL="0" indent="0">
              <a:buNone/>
            </a:pPr>
            <a:r>
              <a:rPr lang="sv-SE" b="1" noProof="0" dirty="0"/>
              <a:t>Del 2 </a:t>
            </a:r>
          </a:p>
          <a:p>
            <a:pPr marL="0" indent="0">
              <a:buNone/>
            </a:pPr>
            <a:r>
              <a:rPr lang="sv-SE" noProof="0" dirty="0"/>
              <a:t>Arbetsträning/Praktik</a:t>
            </a:r>
          </a:p>
          <a:p>
            <a:r>
              <a:rPr lang="sv-SE" noProof="0" dirty="0"/>
              <a:t>3 månader</a:t>
            </a:r>
          </a:p>
          <a:p>
            <a:r>
              <a:rPr lang="sv-SE" noProof="0" dirty="0"/>
              <a:t>Uppdaterar arbetserfarenhet</a:t>
            </a:r>
          </a:p>
        </p:txBody>
      </p:sp>
      <p:sp>
        <p:nvSpPr>
          <p:cNvPr id="10" name="Platshållare för innehåll 9">
            <a:extLst>
              <a:ext uri="{FF2B5EF4-FFF2-40B4-BE49-F238E27FC236}">
                <a16:creationId xmlns:a16="http://schemas.microsoft.com/office/drawing/2014/main" id="{C9315E31-4C12-6153-DF75-0C378ACD3411}"/>
              </a:ext>
            </a:extLst>
          </p:cNvPr>
          <p:cNvSpPr>
            <a:spLocks noGrp="1"/>
          </p:cNvSpPr>
          <p:nvPr>
            <p:ph idx="4294967295"/>
          </p:nvPr>
        </p:nvSpPr>
        <p:spPr>
          <a:xfrm>
            <a:off x="8281734" y="1422650"/>
            <a:ext cx="3233990" cy="4844013"/>
          </a:xfrm>
        </p:spPr>
        <p:txBody>
          <a:bodyPr/>
          <a:lstStyle/>
          <a:p>
            <a:pPr marL="0" indent="0">
              <a:buNone/>
            </a:pPr>
            <a:r>
              <a:rPr lang="sv-SE" b="1" noProof="0" dirty="0"/>
              <a:t>Del 3 </a:t>
            </a:r>
          </a:p>
          <a:p>
            <a:pPr marL="0" indent="0">
              <a:buNone/>
            </a:pPr>
            <a:r>
              <a:rPr lang="sv-SE" noProof="0" dirty="0"/>
              <a:t>Fördjupning</a:t>
            </a:r>
          </a:p>
          <a:p>
            <a:r>
              <a:rPr lang="sv-SE" noProof="0" dirty="0"/>
              <a:t>2 månader</a:t>
            </a:r>
          </a:p>
          <a:p>
            <a:r>
              <a:rPr lang="sv-SE" noProof="0" dirty="0"/>
              <a:t>Arbetsgivare</a:t>
            </a:r>
          </a:p>
          <a:p>
            <a:r>
              <a:rPr lang="sv-SE" noProof="0" dirty="0"/>
              <a:t>Studiebesök</a:t>
            </a:r>
          </a:p>
          <a:p>
            <a:pPr marL="0" indent="0">
              <a:buNone/>
            </a:pPr>
            <a:endParaRPr lang="sv-SE" noProof="0" dirty="0"/>
          </a:p>
          <a:p>
            <a:pPr marL="0" indent="0">
              <a:buNone/>
            </a:pPr>
            <a:r>
              <a:rPr lang="sv-SE" b="1" noProof="0" dirty="0"/>
              <a:t>Del 4 </a:t>
            </a:r>
          </a:p>
          <a:p>
            <a:pPr marL="0" indent="0">
              <a:buNone/>
            </a:pPr>
            <a:r>
              <a:rPr lang="sv-SE" noProof="0" dirty="0"/>
              <a:t>Praktik</a:t>
            </a:r>
          </a:p>
          <a:p>
            <a:r>
              <a:rPr lang="sv-SE" noProof="0" dirty="0"/>
              <a:t>3 månader</a:t>
            </a:r>
          </a:p>
          <a:p>
            <a:r>
              <a:rPr lang="sv-SE" noProof="0" dirty="0"/>
              <a:t>Jobb</a:t>
            </a:r>
          </a:p>
        </p:txBody>
      </p:sp>
      <p:pic>
        <p:nvPicPr>
          <p:cNvPr id="2" name="Bild 1">
            <a:extLst>
              <a:ext uri="{FF2B5EF4-FFF2-40B4-BE49-F238E27FC236}">
                <a16:creationId xmlns:a16="http://schemas.microsoft.com/office/drawing/2014/main" id="{C29F18CD-7F44-1589-231E-45AA2E0F79E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29125" y="6271403"/>
            <a:ext cx="3333750" cy="362309"/>
          </a:xfrm>
          <a:prstGeom prst="rect">
            <a:avLst/>
          </a:prstGeom>
          <a:noFill/>
          <a:ln>
            <a:noFill/>
          </a:ln>
        </p:spPr>
      </p:pic>
      <p:pic>
        <p:nvPicPr>
          <p:cNvPr id="6" name="Bildobjekt 5" descr="En bild som visar Grafik, kreativitet, grafisk design, Färggrann&#10;&#10;Automatiskt genererad beskrivning">
            <a:extLst>
              <a:ext uri="{FF2B5EF4-FFF2-40B4-BE49-F238E27FC236}">
                <a16:creationId xmlns:a16="http://schemas.microsoft.com/office/drawing/2014/main" id="{1AD95637-A709-D231-CDEB-5DAE6A334B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6214" y="1422651"/>
            <a:ext cx="3633537" cy="3633537"/>
          </a:xfrm>
          <a:prstGeom prst="rect">
            <a:avLst/>
          </a:prstGeom>
        </p:spPr>
      </p:pic>
    </p:spTree>
    <p:extLst>
      <p:ext uri="{BB962C8B-B14F-4D97-AF65-F5344CB8AC3E}">
        <p14:creationId xmlns:p14="http://schemas.microsoft.com/office/powerpoint/2010/main" val="3851811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006D14C-A76C-D2D7-B78C-D10A0EFB9637}"/>
              </a:ext>
            </a:extLst>
          </p:cNvPr>
          <p:cNvSpPr>
            <a:spLocks noGrp="1"/>
          </p:cNvSpPr>
          <p:nvPr>
            <p:ph type="title"/>
          </p:nvPr>
        </p:nvSpPr>
        <p:spPr/>
        <p:txBody>
          <a:bodyPr/>
          <a:lstStyle/>
          <a:p>
            <a:r>
              <a:rPr lang="sv-SE" noProof="0" dirty="0"/>
              <a:t>Upplägg</a:t>
            </a:r>
          </a:p>
        </p:txBody>
      </p:sp>
      <p:graphicFrame>
        <p:nvGraphicFramePr>
          <p:cNvPr id="4" name="Platshållare för innehåll 3">
            <a:extLst>
              <a:ext uri="{FF2B5EF4-FFF2-40B4-BE49-F238E27FC236}">
                <a16:creationId xmlns:a16="http://schemas.microsoft.com/office/drawing/2014/main" id="{FE464645-EBE7-06F6-A335-AD52037952AA}"/>
              </a:ext>
            </a:extLst>
          </p:cNvPr>
          <p:cNvGraphicFramePr>
            <a:graphicFrameLocks noGrp="1"/>
          </p:cNvGraphicFramePr>
          <p:nvPr>
            <p:ph idx="1"/>
            <p:extLst>
              <p:ext uri="{D42A27DB-BD31-4B8C-83A1-F6EECF244321}">
                <p14:modId xmlns:p14="http://schemas.microsoft.com/office/powerpoint/2010/main" val="2937557770"/>
              </p:ext>
            </p:extLst>
          </p:nvPr>
        </p:nvGraphicFramePr>
        <p:xfrm>
          <a:off x="515937" y="1956526"/>
          <a:ext cx="8937172" cy="2785727"/>
        </p:xfrm>
        <a:graphic>
          <a:graphicData uri="http://schemas.openxmlformats.org/drawingml/2006/table">
            <a:tbl>
              <a:tblPr firstRow="1" bandRow="1">
                <a:tableStyleId>{5C22544A-7EE6-4342-B048-85BDC9FD1C3A}</a:tableStyleId>
              </a:tblPr>
              <a:tblGrid>
                <a:gridCol w="4430486">
                  <a:extLst>
                    <a:ext uri="{9D8B030D-6E8A-4147-A177-3AD203B41FA5}">
                      <a16:colId xmlns:a16="http://schemas.microsoft.com/office/drawing/2014/main" val="889640415"/>
                    </a:ext>
                  </a:extLst>
                </a:gridCol>
                <a:gridCol w="4506686">
                  <a:extLst>
                    <a:ext uri="{9D8B030D-6E8A-4147-A177-3AD203B41FA5}">
                      <a16:colId xmlns:a16="http://schemas.microsoft.com/office/drawing/2014/main" val="4002940216"/>
                    </a:ext>
                  </a:extLst>
                </a:gridCol>
              </a:tblGrid>
              <a:tr h="1513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Traditionell insats</a:t>
                      </a:r>
                      <a:endParaRPr lang="sv-SE" sz="2800" kern="100" noProof="0" dirty="0">
                        <a:effectLst/>
                        <a:latin typeface="Arial" panose="020B0604020202020204" pitchFamily="34" charset="0"/>
                        <a:ea typeface="Arial" panose="020B0604020202020204" pitchFamily="34" charset="0"/>
                        <a:cs typeface="Times New Roman" panose="02020603050405020304" pitchFamily="18" charset="0"/>
                      </a:endParaRPr>
                    </a:p>
                    <a:p>
                      <a:endParaRPr lang="sv-SE" sz="2800"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800" b="1" kern="100" noProof="0" dirty="0" err="1">
                          <a:effectLst/>
                          <a:latin typeface="Arial" panose="020B0604020202020204" pitchFamily="34" charset="0"/>
                          <a:ea typeface="Arial" panose="020B0604020202020204" pitchFamily="34" charset="0"/>
                          <a:cs typeface="Times New Roman" panose="02020603050405020304" pitchFamily="18" charset="0"/>
                        </a:rPr>
                        <a:t>Pronto</a:t>
                      </a:r>
                      <a:endParaRPr lang="sv-SE" sz="2800" kern="100" noProof="0" dirty="0">
                        <a:effectLst/>
                        <a:latin typeface="Arial" panose="020B0604020202020204" pitchFamily="34" charset="0"/>
                        <a:ea typeface="Arial" panose="020B0604020202020204" pitchFamily="34" charset="0"/>
                        <a:cs typeface="Times New Roman" panose="02020603050405020304" pitchFamily="18" charset="0"/>
                      </a:endParaRPr>
                    </a:p>
                    <a:p>
                      <a:endParaRPr lang="sv-SE" sz="2800" noProof="0" dirty="0"/>
                    </a:p>
                  </a:txBody>
                  <a:tcPr/>
                </a:tc>
                <a:extLst>
                  <a:ext uri="{0D108BD9-81ED-4DB2-BD59-A6C34878D82A}">
                    <a16:rowId xmlns:a16="http://schemas.microsoft.com/office/drawing/2014/main" val="2929448770"/>
                  </a:ext>
                </a:extLst>
              </a:tr>
              <a:tr h="370840">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Otydlig längd</a:t>
                      </a:r>
                    </a:p>
                  </a:txBody>
                  <a:tcPr marL="9525" marR="9525" marT="9525" marB="9525" anchor="ctr"/>
                </a:tc>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10 månader från start</a:t>
                      </a:r>
                    </a:p>
                  </a:txBody>
                  <a:tcPr marL="9525" marR="9525" marT="9525" marB="9525" anchor="ctr"/>
                </a:tc>
                <a:extLst>
                  <a:ext uri="{0D108BD9-81ED-4DB2-BD59-A6C34878D82A}">
                    <a16:rowId xmlns:a16="http://schemas.microsoft.com/office/drawing/2014/main" val="3082370623"/>
                  </a:ext>
                </a:extLst>
              </a:tr>
              <a:tr h="370840">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Uppdragstyrt</a:t>
                      </a:r>
                    </a:p>
                  </a:txBody>
                  <a:tcPr marL="9525" marR="9525" marT="9525" marB="9525" anchor="ctr"/>
                </a:tc>
                <a:tc>
                  <a:txBody>
                    <a:bodyPr/>
                    <a:lstStyle/>
                    <a:p>
                      <a:pPr>
                        <a:lnSpc>
                          <a:spcPct val="107000"/>
                        </a:lnSpc>
                        <a:spcAft>
                          <a:spcPts val="800"/>
                        </a:spcAft>
                        <a:buNone/>
                      </a:pPr>
                      <a:r>
                        <a:rPr lang="sv-SE" sz="2800" b="1" kern="100" noProof="0" dirty="0" err="1">
                          <a:effectLst/>
                          <a:latin typeface="Arial" panose="020B0604020202020204" pitchFamily="34" charset="0"/>
                          <a:ea typeface="Arial" panose="020B0604020202020204" pitchFamily="34" charset="0"/>
                          <a:cs typeface="Times New Roman" panose="02020603050405020304" pitchFamily="18" charset="0"/>
                        </a:rPr>
                        <a:t>Processstyrt</a:t>
                      </a:r>
                      <a:endParaRPr lang="sv-SE" sz="2800" b="1" kern="100" noProof="0" dirty="0">
                        <a:effectLst/>
                        <a:latin typeface="Arial" panose="020B0604020202020204" pitchFamily="34" charset="0"/>
                        <a:ea typeface="Arial" panose="020B06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770632093"/>
                  </a:ext>
                </a:extLst>
              </a:tr>
              <a:tr h="513443">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Fragmenterat</a:t>
                      </a:r>
                    </a:p>
                  </a:txBody>
                  <a:tcPr marL="9525" marR="9525" marT="9525" marB="9525" anchor="ctr"/>
                </a:tc>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Sammanhållet</a:t>
                      </a:r>
                    </a:p>
                  </a:txBody>
                  <a:tcPr marL="9525" marR="9525" marT="9525" marB="9525" anchor="ctr"/>
                </a:tc>
                <a:extLst>
                  <a:ext uri="{0D108BD9-81ED-4DB2-BD59-A6C34878D82A}">
                    <a16:rowId xmlns:a16="http://schemas.microsoft.com/office/drawing/2014/main" val="3068985844"/>
                  </a:ext>
                </a:extLst>
              </a:tr>
              <a:tr h="370840">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Osäker riktning</a:t>
                      </a:r>
                    </a:p>
                  </a:txBody>
                  <a:tcPr marL="9525" marR="9525" marT="9525" marB="9525" anchor="ctr"/>
                </a:tc>
                <a:tc>
                  <a:txBody>
                    <a:bodyPr/>
                    <a:lstStyle/>
                    <a:p>
                      <a:pPr>
                        <a:lnSpc>
                          <a:spcPct val="107000"/>
                        </a:lnSpc>
                        <a:spcAft>
                          <a:spcPts val="800"/>
                        </a:spcAft>
                        <a:buNone/>
                      </a:pPr>
                      <a:r>
                        <a:rPr lang="sv-SE" sz="2800" b="1" kern="100" noProof="0" dirty="0">
                          <a:effectLst/>
                          <a:latin typeface="Arial" panose="020B0604020202020204" pitchFamily="34" charset="0"/>
                          <a:ea typeface="Arial" panose="020B0604020202020204" pitchFamily="34" charset="0"/>
                          <a:cs typeface="Times New Roman" panose="02020603050405020304" pitchFamily="18" charset="0"/>
                        </a:rPr>
                        <a:t>Tydlig progression</a:t>
                      </a:r>
                    </a:p>
                  </a:txBody>
                  <a:tcPr marL="9525" marR="9525" marT="9525" marB="9525" anchor="ctr"/>
                </a:tc>
                <a:extLst>
                  <a:ext uri="{0D108BD9-81ED-4DB2-BD59-A6C34878D82A}">
                    <a16:rowId xmlns:a16="http://schemas.microsoft.com/office/drawing/2014/main" val="2254709026"/>
                  </a:ext>
                </a:extLst>
              </a:tr>
            </a:tbl>
          </a:graphicData>
        </a:graphic>
      </p:graphicFrame>
    </p:spTree>
    <p:extLst>
      <p:ext uri="{BB962C8B-B14F-4D97-AF65-F5344CB8AC3E}">
        <p14:creationId xmlns:p14="http://schemas.microsoft.com/office/powerpoint/2010/main" val="2740185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14E9C8F-854C-7BA1-FE4D-A767E2D8BFDB}"/>
              </a:ext>
            </a:extLst>
          </p:cNvPr>
          <p:cNvSpPr>
            <a:spLocks noGrp="1"/>
          </p:cNvSpPr>
          <p:nvPr>
            <p:ph type="title"/>
          </p:nvPr>
        </p:nvSpPr>
        <p:spPr>
          <a:xfrm>
            <a:off x="515937" y="476250"/>
            <a:ext cx="10999787" cy="1325563"/>
          </a:xfrm>
        </p:spPr>
        <p:txBody>
          <a:bodyPr anchor="t">
            <a:normAutofit/>
          </a:bodyPr>
          <a:lstStyle/>
          <a:p>
            <a:r>
              <a:rPr lang="sv-SE" noProof="0" dirty="0"/>
              <a:t>Feedback från deltagare kring arbetssättet</a:t>
            </a:r>
          </a:p>
        </p:txBody>
      </p:sp>
      <p:graphicFrame>
        <p:nvGraphicFramePr>
          <p:cNvPr id="13" name="Platshållare för innehåll 6">
            <a:extLst>
              <a:ext uri="{FF2B5EF4-FFF2-40B4-BE49-F238E27FC236}">
                <a16:creationId xmlns:a16="http://schemas.microsoft.com/office/drawing/2014/main" id="{EC5167BB-333D-DC0A-B59F-5F0044666F19}"/>
              </a:ext>
            </a:extLst>
          </p:cNvPr>
          <p:cNvGraphicFramePr>
            <a:graphicFrameLocks noGrp="1"/>
          </p:cNvGraphicFramePr>
          <p:nvPr>
            <p:ph idx="1"/>
            <p:extLst>
              <p:ext uri="{D42A27DB-BD31-4B8C-83A1-F6EECF244321}">
                <p14:modId xmlns:p14="http://schemas.microsoft.com/office/powerpoint/2010/main" val="697687505"/>
              </p:ext>
            </p:extLst>
          </p:nvPr>
        </p:nvGraphicFramePr>
        <p:xfrm>
          <a:off x="515937" y="1936750"/>
          <a:ext cx="11160125" cy="3644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61461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CF2C39CF-8454-5C5D-4E61-A4E0935913D3}"/>
              </a:ext>
            </a:extLst>
          </p:cNvPr>
          <p:cNvSpPr>
            <a:spLocks noGrp="1"/>
          </p:cNvSpPr>
          <p:nvPr>
            <p:ph idx="1"/>
          </p:nvPr>
        </p:nvSpPr>
        <p:spPr/>
        <p:txBody>
          <a:bodyPr>
            <a:normAutofit lnSpcReduction="10000"/>
          </a:bodyPr>
          <a:lstStyle/>
          <a:p>
            <a:r>
              <a:rPr lang="sv-SE" sz="1100" noProof="0" dirty="0"/>
              <a:t> </a:t>
            </a:r>
            <a:r>
              <a:rPr lang="sv-SE" sz="2000" noProof="0" dirty="0"/>
              <a:t>Några ord från deltagarna:​</a:t>
            </a:r>
          </a:p>
          <a:p>
            <a:r>
              <a:rPr lang="sv-SE" sz="2000" noProof="0" dirty="0"/>
              <a:t>​</a:t>
            </a:r>
          </a:p>
          <a:p>
            <a:r>
              <a:rPr lang="sv-SE" sz="2000" noProof="0" dirty="0"/>
              <a:t>    ​</a:t>
            </a:r>
          </a:p>
          <a:p>
            <a:r>
              <a:rPr lang="sv-SE" sz="2000" noProof="0" dirty="0"/>
              <a:t>                 Positiv               Framtidsfokus                              Vägledande​</a:t>
            </a:r>
          </a:p>
          <a:p>
            <a:r>
              <a:rPr lang="sv-SE" sz="2000" noProof="0" dirty="0"/>
              <a:t>   ​</a:t>
            </a:r>
          </a:p>
          <a:p>
            <a:r>
              <a:rPr lang="sv-SE" sz="2000" noProof="0" dirty="0"/>
              <a:t>          Gemenskap                          Motiverande     		                Trevligt​</a:t>
            </a:r>
          </a:p>
          <a:p>
            <a:r>
              <a:rPr lang="sv-SE" sz="2000" noProof="0" dirty="0"/>
              <a:t>                                 ​</a:t>
            </a:r>
          </a:p>
          <a:p>
            <a:r>
              <a:rPr lang="sv-SE" sz="2000" noProof="0" dirty="0"/>
              <a:t>    Lärande                      Våga           Självtroende​</a:t>
            </a:r>
          </a:p>
          <a:p>
            <a:r>
              <a:rPr lang="sv-SE" sz="2000" noProof="0" dirty="0"/>
              <a:t>​</a:t>
            </a:r>
          </a:p>
          <a:p>
            <a:r>
              <a:rPr lang="sv-SE" sz="2000" noProof="0" dirty="0"/>
              <a:t>    Stöttning                             Viktig                                            Vidare​</a:t>
            </a:r>
          </a:p>
          <a:p>
            <a:r>
              <a:rPr lang="sv-SE" sz="2000" noProof="0" dirty="0"/>
              <a:t> ​</a:t>
            </a:r>
          </a:p>
          <a:p>
            <a:r>
              <a:rPr lang="sv-SE" sz="2000" noProof="0" dirty="0"/>
              <a:t>               Självständig      Nyttig          Kännedom                   Delaktighet</a:t>
            </a:r>
          </a:p>
        </p:txBody>
      </p:sp>
    </p:spTree>
    <p:extLst>
      <p:ext uri="{BB962C8B-B14F-4D97-AF65-F5344CB8AC3E}">
        <p14:creationId xmlns:p14="http://schemas.microsoft.com/office/powerpoint/2010/main" val="2311958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bild 4">
            <a:extLst>
              <a:ext uri="{FF2B5EF4-FFF2-40B4-BE49-F238E27FC236}">
                <a16:creationId xmlns:a16="http://schemas.microsoft.com/office/drawing/2014/main" id="{0F14B87F-26B0-9C2C-05A3-8C868D9D21CD}"/>
              </a:ext>
            </a:extLst>
          </p:cNvPr>
          <p:cNvPicPr>
            <a:picLocks noGrp="1" noChangeAspect="1"/>
          </p:cNvPicPr>
          <p:nvPr>
            <p:ph type="pic" sz="quarter" idx="13"/>
          </p:nvPr>
        </p:nvPicPr>
        <p:blipFill>
          <a:blip r:embed="rId2"/>
          <a:srcRect t="8371" b="8371"/>
          <a:stretch/>
        </p:blipFill>
        <p:spPr>
          <a:prstGeom prst="rect">
            <a:avLst/>
          </a:prstGeom>
        </p:spPr>
      </p:pic>
      <p:sp>
        <p:nvSpPr>
          <p:cNvPr id="10" name="Text Placeholder 2">
            <a:extLst>
              <a:ext uri="{FF2B5EF4-FFF2-40B4-BE49-F238E27FC236}">
                <a16:creationId xmlns:a16="http://schemas.microsoft.com/office/drawing/2014/main" id="{F721B909-7F58-5CB6-4D68-EFB1635CBF24}"/>
              </a:ext>
            </a:extLst>
          </p:cNvPr>
          <p:cNvSpPr>
            <a:spLocks noGrp="1"/>
          </p:cNvSpPr>
          <p:nvPr>
            <p:ph type="body" sz="quarter" idx="16"/>
          </p:nvPr>
        </p:nvSpPr>
        <p:spPr>
          <a:xfrm>
            <a:off x="10260121" y="5768975"/>
            <a:ext cx="1766455" cy="971550"/>
          </a:xfrm>
        </p:spPr>
        <p:txBody>
          <a:bodyPr/>
          <a:lstStyle/>
          <a:p>
            <a:endParaRPr lang="sv-SE" noProof="0" dirty="0"/>
          </a:p>
        </p:txBody>
      </p:sp>
      <p:sp>
        <p:nvSpPr>
          <p:cNvPr id="2" name="Rubrik 1">
            <a:extLst>
              <a:ext uri="{FF2B5EF4-FFF2-40B4-BE49-F238E27FC236}">
                <a16:creationId xmlns:a16="http://schemas.microsoft.com/office/drawing/2014/main" id="{919D8028-144D-CE1F-D1FB-C1F7A19A9E83}"/>
              </a:ext>
            </a:extLst>
          </p:cNvPr>
          <p:cNvSpPr>
            <a:spLocks noGrp="1"/>
          </p:cNvSpPr>
          <p:nvPr>
            <p:ph type="title"/>
          </p:nvPr>
        </p:nvSpPr>
        <p:spPr>
          <a:xfrm>
            <a:off x="515938" y="476250"/>
            <a:ext cx="5218112" cy="1325563"/>
          </a:xfrm>
        </p:spPr>
        <p:txBody>
          <a:bodyPr anchor="t">
            <a:normAutofit/>
          </a:bodyPr>
          <a:lstStyle/>
          <a:p>
            <a:r>
              <a:rPr lang="sv-SE" noProof="0" dirty="0"/>
              <a:t>Några saker att fundera över</a:t>
            </a:r>
          </a:p>
        </p:txBody>
      </p:sp>
      <p:sp>
        <p:nvSpPr>
          <p:cNvPr id="3" name="Platshållare för innehåll 2">
            <a:extLst>
              <a:ext uri="{FF2B5EF4-FFF2-40B4-BE49-F238E27FC236}">
                <a16:creationId xmlns:a16="http://schemas.microsoft.com/office/drawing/2014/main" id="{98AD1262-949E-8277-7B08-BADEA5097D4A}"/>
              </a:ext>
            </a:extLst>
          </p:cNvPr>
          <p:cNvSpPr>
            <a:spLocks noGrp="1"/>
          </p:cNvSpPr>
          <p:nvPr>
            <p:ph idx="1"/>
          </p:nvPr>
        </p:nvSpPr>
        <p:spPr>
          <a:xfrm>
            <a:off x="515937" y="1936750"/>
            <a:ext cx="5218113" cy="3644900"/>
          </a:xfrm>
        </p:spPr>
        <p:txBody>
          <a:bodyPr>
            <a:normAutofit/>
          </a:bodyPr>
          <a:lstStyle/>
          <a:p>
            <a:pPr lvl="0"/>
            <a:r>
              <a:rPr lang="sv-SE" noProof="0" dirty="0"/>
              <a:t>Hur kan man skapa effektivare processer inom korta beslut?</a:t>
            </a:r>
          </a:p>
          <a:p>
            <a:pPr lvl="0"/>
            <a:endParaRPr lang="sv-SE" noProof="0" dirty="0"/>
          </a:p>
          <a:p>
            <a:pPr lvl="0"/>
            <a:r>
              <a:rPr lang="sv-SE" noProof="0" dirty="0"/>
              <a:t>Vad krävs av beställare/uppdragsgivare för att detta ska fungera?</a:t>
            </a:r>
          </a:p>
          <a:p>
            <a:pPr lvl="0"/>
            <a:endParaRPr lang="sv-SE" noProof="0" dirty="0"/>
          </a:p>
          <a:p>
            <a:pPr lvl="0"/>
            <a:r>
              <a:rPr lang="sv-SE" noProof="0" dirty="0"/>
              <a:t>“Hur mäter vi progression – inte bara avslut?” Hur blir detta en viktig faktor?</a:t>
            </a:r>
          </a:p>
          <a:p>
            <a:endParaRPr lang="sv-SE" noProof="0" dirty="0"/>
          </a:p>
        </p:txBody>
      </p:sp>
    </p:spTree>
    <p:extLst>
      <p:ext uri="{BB962C8B-B14F-4D97-AF65-F5344CB8AC3E}">
        <p14:creationId xmlns:p14="http://schemas.microsoft.com/office/powerpoint/2010/main" val="3145710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bild 6">
            <a:extLst>
              <a:ext uri="{FF2B5EF4-FFF2-40B4-BE49-F238E27FC236}">
                <a16:creationId xmlns:a16="http://schemas.microsoft.com/office/drawing/2014/main" id="{59622376-0918-C14B-1A4D-EA6E424789D3}"/>
              </a:ext>
            </a:extLst>
          </p:cNvPr>
          <p:cNvPicPr>
            <a:picLocks noGrp="1" noChangeAspect="1"/>
          </p:cNvPicPr>
          <p:nvPr>
            <p:ph type="pic" sz="quarter" idx="13"/>
          </p:nvPr>
        </p:nvPicPr>
        <p:blipFill>
          <a:blip r:embed="rId2"/>
          <a:srcRect l="19443" r="19443"/>
          <a:stretch/>
        </p:blipFill>
        <p:spPr>
          <a:prstGeom prst="rect">
            <a:avLst/>
          </a:prstGeom>
        </p:spPr>
      </p:pic>
      <p:sp>
        <p:nvSpPr>
          <p:cNvPr id="5" name="Platshållare för text 4">
            <a:extLst>
              <a:ext uri="{FF2B5EF4-FFF2-40B4-BE49-F238E27FC236}">
                <a16:creationId xmlns:a16="http://schemas.microsoft.com/office/drawing/2014/main" id="{7C8CC105-D4D8-7C0C-0EB1-4555A390EF38}"/>
              </a:ext>
            </a:extLst>
          </p:cNvPr>
          <p:cNvSpPr>
            <a:spLocks noGrp="1"/>
          </p:cNvSpPr>
          <p:nvPr>
            <p:ph type="body" sz="quarter" idx="16"/>
          </p:nvPr>
        </p:nvSpPr>
        <p:spPr/>
        <p:txBody>
          <a:bodyPr/>
          <a:lstStyle/>
          <a:p>
            <a:endParaRPr lang="sv-SE" noProof="0" dirty="0"/>
          </a:p>
        </p:txBody>
      </p:sp>
      <p:sp>
        <p:nvSpPr>
          <p:cNvPr id="2" name="Rubrik 1">
            <a:extLst>
              <a:ext uri="{FF2B5EF4-FFF2-40B4-BE49-F238E27FC236}">
                <a16:creationId xmlns:a16="http://schemas.microsoft.com/office/drawing/2014/main" id="{A4E5572A-A769-A55D-0665-CB0637963E86}"/>
              </a:ext>
            </a:extLst>
          </p:cNvPr>
          <p:cNvSpPr>
            <a:spLocks noGrp="1"/>
          </p:cNvSpPr>
          <p:nvPr>
            <p:ph type="title"/>
          </p:nvPr>
        </p:nvSpPr>
        <p:spPr/>
        <p:txBody>
          <a:bodyPr anchor="t">
            <a:normAutofit/>
          </a:bodyPr>
          <a:lstStyle/>
          <a:p>
            <a:r>
              <a:rPr lang="sv-SE" noProof="0" dirty="0"/>
              <a:t>Insatser där vi inte mäter utfallet provocerar !</a:t>
            </a:r>
          </a:p>
        </p:txBody>
      </p:sp>
      <p:sp>
        <p:nvSpPr>
          <p:cNvPr id="3" name="Platshållare för innehåll 2">
            <a:extLst>
              <a:ext uri="{FF2B5EF4-FFF2-40B4-BE49-F238E27FC236}">
                <a16:creationId xmlns:a16="http://schemas.microsoft.com/office/drawing/2014/main" id="{5C3F8A12-AF3B-CFF7-00E2-E41910CFA64E}"/>
              </a:ext>
            </a:extLst>
          </p:cNvPr>
          <p:cNvSpPr>
            <a:spLocks noGrp="1"/>
          </p:cNvSpPr>
          <p:nvPr>
            <p:ph idx="1"/>
          </p:nvPr>
        </p:nvSpPr>
        <p:spPr/>
        <p:txBody>
          <a:bodyPr>
            <a:normAutofit/>
          </a:bodyPr>
          <a:lstStyle/>
          <a:p>
            <a:r>
              <a:rPr lang="sv-SE" noProof="0" dirty="0"/>
              <a:t>Kan man ha insatser där man inte mäter resultatet i antalet personer som går mot jobb eller studier?</a:t>
            </a:r>
          </a:p>
          <a:p>
            <a:pPr marL="0" indent="0">
              <a:buNone/>
            </a:pPr>
            <a:endParaRPr lang="sv-SE" noProof="0" dirty="0"/>
          </a:p>
          <a:p>
            <a:r>
              <a:rPr lang="sv-SE" noProof="0" dirty="0"/>
              <a:t>Samverkan vad är det?</a:t>
            </a:r>
          </a:p>
          <a:p>
            <a:endParaRPr lang="sv-SE" noProof="0" dirty="0"/>
          </a:p>
          <a:p>
            <a:r>
              <a:rPr lang="sv-SE" noProof="0" dirty="0"/>
              <a:t>Vem äger processen?</a:t>
            </a:r>
          </a:p>
          <a:p>
            <a:endParaRPr lang="sv-SE" noProof="0" dirty="0"/>
          </a:p>
        </p:txBody>
      </p:sp>
    </p:spTree>
    <p:extLst>
      <p:ext uri="{BB962C8B-B14F-4D97-AF65-F5344CB8AC3E}">
        <p14:creationId xmlns:p14="http://schemas.microsoft.com/office/powerpoint/2010/main" val="337840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081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and företags tangenter">
            <a:extLst>
              <a:ext uri="{FF2B5EF4-FFF2-40B4-BE49-F238E27FC236}">
                <a16:creationId xmlns:a16="http://schemas.microsoft.com/office/drawing/2014/main" id="{3B10AFDE-9C56-D04F-0836-56DE1128667B}"/>
              </a:ext>
            </a:extLst>
          </p:cNvPr>
          <p:cNvPicPr>
            <a:picLocks noChangeAspect="1"/>
          </p:cNvPicPr>
          <p:nvPr/>
        </p:nvPicPr>
        <p:blipFill>
          <a:blip r:embed="rId2"/>
          <a:srcRect l="19428" r="19429" b="1"/>
          <a:stretch>
            <a:fillRect/>
          </a:stretch>
        </p:blipFill>
        <p:spPr>
          <a:xfrm>
            <a:off x="227013" y="225425"/>
            <a:ext cx="5868988" cy="6407150"/>
          </a:xfrm>
          <a:prstGeom prst="rect">
            <a:avLst/>
          </a:prstGeom>
          <a:noFill/>
        </p:spPr>
      </p:pic>
      <p:sp>
        <p:nvSpPr>
          <p:cNvPr id="2" name="Rubrik 1">
            <a:extLst>
              <a:ext uri="{FF2B5EF4-FFF2-40B4-BE49-F238E27FC236}">
                <a16:creationId xmlns:a16="http://schemas.microsoft.com/office/drawing/2014/main" id="{FE269E82-9A5F-B198-B89D-EB1B55B97E38}"/>
              </a:ext>
            </a:extLst>
          </p:cNvPr>
          <p:cNvSpPr>
            <a:spLocks noGrp="1"/>
          </p:cNvSpPr>
          <p:nvPr>
            <p:ph type="title"/>
          </p:nvPr>
        </p:nvSpPr>
        <p:spPr>
          <a:xfrm>
            <a:off x="6457951" y="476250"/>
            <a:ext cx="5218112" cy="1325563"/>
          </a:xfrm>
        </p:spPr>
        <p:txBody>
          <a:bodyPr anchor="t">
            <a:normAutofit/>
          </a:bodyPr>
          <a:lstStyle/>
          <a:p>
            <a:br>
              <a:rPr lang="sv-SE" sz="2500" b="1" noProof="0" dirty="0">
                <a:effectLst/>
              </a:rPr>
            </a:br>
            <a:r>
              <a:rPr lang="sv-SE" sz="2500" b="1" noProof="0" dirty="0"/>
              <a:t>Att äga processen – nyckeln till verklig arbetsintegration</a:t>
            </a:r>
            <a:endParaRPr lang="sv-SE" sz="2500" noProof="0" dirty="0"/>
          </a:p>
        </p:txBody>
      </p:sp>
      <p:sp>
        <p:nvSpPr>
          <p:cNvPr id="3" name="Underrubrik 2">
            <a:extLst>
              <a:ext uri="{FF2B5EF4-FFF2-40B4-BE49-F238E27FC236}">
                <a16:creationId xmlns:a16="http://schemas.microsoft.com/office/drawing/2014/main" id="{2D77E0C9-4919-64D4-A554-8895DB7EFB15}"/>
              </a:ext>
            </a:extLst>
          </p:cNvPr>
          <p:cNvSpPr>
            <a:spLocks noGrp="1"/>
          </p:cNvSpPr>
          <p:nvPr>
            <p:ph idx="1"/>
          </p:nvPr>
        </p:nvSpPr>
        <p:spPr>
          <a:xfrm>
            <a:off x="6457950" y="1936750"/>
            <a:ext cx="5218113" cy="3644900"/>
          </a:xfrm>
        </p:spPr>
        <p:txBody>
          <a:bodyPr>
            <a:normAutofit/>
          </a:bodyPr>
          <a:lstStyle/>
          <a:p>
            <a:r>
              <a:rPr lang="sv-SE" i="1" noProof="0" dirty="0"/>
              <a:t>Arbetssätt att skapa insatser som bygger på bredd, tvärkompentens och samverkan.</a:t>
            </a:r>
            <a:br>
              <a:rPr lang="sv-SE" noProof="0" dirty="0"/>
            </a:br>
            <a:endParaRPr lang="sv-SE" noProof="0" dirty="0"/>
          </a:p>
        </p:txBody>
      </p:sp>
    </p:spTree>
    <p:extLst>
      <p:ext uri="{BB962C8B-B14F-4D97-AF65-F5344CB8AC3E}">
        <p14:creationId xmlns:p14="http://schemas.microsoft.com/office/powerpoint/2010/main" val="2167195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DF56FB-4BD7-CF99-E634-707D5D6A1CED}"/>
              </a:ext>
            </a:extLst>
          </p:cNvPr>
          <p:cNvSpPr>
            <a:spLocks noGrp="1"/>
          </p:cNvSpPr>
          <p:nvPr>
            <p:ph type="title"/>
          </p:nvPr>
        </p:nvSpPr>
        <p:spPr>
          <a:xfrm>
            <a:off x="515937" y="476250"/>
            <a:ext cx="10999787" cy="1325563"/>
          </a:xfrm>
        </p:spPr>
        <p:txBody>
          <a:bodyPr anchor="t">
            <a:normAutofit/>
          </a:bodyPr>
          <a:lstStyle/>
          <a:p>
            <a:r>
              <a:rPr lang="sv-SE" noProof="0" dirty="0"/>
              <a:t>Vad tror ni gör den största skillnaden-arbetsträning</a:t>
            </a:r>
            <a:br>
              <a:rPr lang="sv-SE" noProof="0" dirty="0"/>
            </a:br>
            <a:endParaRPr lang="sv-SE" noProof="0" dirty="0"/>
          </a:p>
        </p:txBody>
      </p:sp>
      <p:graphicFrame>
        <p:nvGraphicFramePr>
          <p:cNvPr id="7" name="Platshållare för innehåll 2">
            <a:extLst>
              <a:ext uri="{FF2B5EF4-FFF2-40B4-BE49-F238E27FC236}">
                <a16:creationId xmlns:a16="http://schemas.microsoft.com/office/drawing/2014/main" id="{0947AAD1-A87A-20F5-D6FD-41D316E84EA0}"/>
              </a:ext>
            </a:extLst>
          </p:cNvPr>
          <p:cNvGraphicFramePr>
            <a:graphicFrameLocks noGrp="1"/>
          </p:cNvGraphicFramePr>
          <p:nvPr>
            <p:ph idx="1"/>
            <p:extLst>
              <p:ext uri="{D42A27DB-BD31-4B8C-83A1-F6EECF244321}">
                <p14:modId xmlns:p14="http://schemas.microsoft.com/office/powerpoint/2010/main" val="3558374611"/>
              </p:ext>
            </p:extLst>
          </p:nvPr>
        </p:nvGraphicFramePr>
        <p:xfrm>
          <a:off x="515937" y="1936750"/>
          <a:ext cx="11160125" cy="3644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6137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0830C01-6774-7D38-F195-308AB44F7C3E}"/>
              </a:ext>
            </a:extLst>
          </p:cNvPr>
          <p:cNvSpPr>
            <a:spLocks noGrp="1"/>
          </p:cNvSpPr>
          <p:nvPr>
            <p:ph type="title"/>
          </p:nvPr>
        </p:nvSpPr>
        <p:spPr>
          <a:xfrm>
            <a:off x="515938" y="476250"/>
            <a:ext cx="5218112" cy="1325563"/>
          </a:xfrm>
        </p:spPr>
        <p:txBody>
          <a:bodyPr anchor="t">
            <a:normAutofit/>
          </a:bodyPr>
          <a:lstStyle/>
          <a:p>
            <a:r>
              <a:rPr lang="sv-SE" noProof="0" dirty="0"/>
              <a:t>Kompetens och förhållningssätt </a:t>
            </a:r>
          </a:p>
        </p:txBody>
      </p:sp>
      <p:sp>
        <p:nvSpPr>
          <p:cNvPr id="3" name="Platshållare för innehåll 2">
            <a:extLst>
              <a:ext uri="{FF2B5EF4-FFF2-40B4-BE49-F238E27FC236}">
                <a16:creationId xmlns:a16="http://schemas.microsoft.com/office/drawing/2014/main" id="{62A132EA-64BB-BA8D-3D38-4BCD9DE635A1}"/>
              </a:ext>
            </a:extLst>
          </p:cNvPr>
          <p:cNvSpPr>
            <a:spLocks noGrp="1"/>
          </p:cNvSpPr>
          <p:nvPr>
            <p:ph idx="1"/>
          </p:nvPr>
        </p:nvSpPr>
        <p:spPr>
          <a:xfrm>
            <a:off x="515937" y="1936750"/>
            <a:ext cx="5218113" cy="3644900"/>
          </a:xfrm>
        </p:spPr>
        <p:txBody>
          <a:bodyPr>
            <a:normAutofit/>
          </a:bodyPr>
          <a:lstStyle/>
          <a:p>
            <a:r>
              <a:rPr lang="sv-SE" sz="2800" noProof="0" dirty="0"/>
              <a:t>Tvärprofessionellt team- akademisk bredd </a:t>
            </a:r>
          </a:p>
          <a:p>
            <a:pPr marL="0" indent="0">
              <a:buNone/>
            </a:pPr>
            <a:endParaRPr lang="sv-SE" sz="2800" noProof="0" dirty="0"/>
          </a:p>
          <a:p>
            <a:r>
              <a:rPr lang="sv-SE" sz="2800" noProof="0" dirty="0"/>
              <a:t>Helhetsperspektiv (hälsa + arbete+ m.m.) </a:t>
            </a:r>
          </a:p>
          <a:p>
            <a:pPr marL="0" indent="0">
              <a:buNone/>
            </a:pPr>
            <a:endParaRPr lang="sv-SE" sz="2800" noProof="0" dirty="0"/>
          </a:p>
          <a:p>
            <a:r>
              <a:rPr lang="sv-SE" sz="2800" noProof="0" dirty="0"/>
              <a:t>Förutsättningar för arbete</a:t>
            </a:r>
          </a:p>
        </p:txBody>
      </p:sp>
      <p:pic>
        <p:nvPicPr>
          <p:cNvPr id="5" name="Picture 4" descr="Händer-ovanpå varandra">
            <a:extLst>
              <a:ext uri="{FF2B5EF4-FFF2-40B4-BE49-F238E27FC236}">
                <a16:creationId xmlns:a16="http://schemas.microsoft.com/office/drawing/2014/main" id="{BC6673E6-FEB6-B5F7-253A-A067FA80B55F}"/>
              </a:ext>
            </a:extLst>
          </p:cNvPr>
          <p:cNvPicPr>
            <a:picLocks noChangeAspect="1"/>
          </p:cNvPicPr>
          <p:nvPr/>
        </p:nvPicPr>
        <p:blipFill>
          <a:blip r:embed="rId2"/>
          <a:srcRect l="51313" r="8611" b="-1"/>
          <a:stretch>
            <a:fillRect/>
          </a:stretch>
        </p:blipFill>
        <p:spPr>
          <a:xfrm>
            <a:off x="6096000" y="225425"/>
            <a:ext cx="5868988" cy="6407150"/>
          </a:xfrm>
          <a:prstGeom prst="rect">
            <a:avLst/>
          </a:prstGeom>
          <a:noFill/>
        </p:spPr>
      </p:pic>
      <p:sp>
        <p:nvSpPr>
          <p:cNvPr id="9" name="Text Placeholder 4">
            <a:extLst>
              <a:ext uri="{FF2B5EF4-FFF2-40B4-BE49-F238E27FC236}">
                <a16:creationId xmlns:a16="http://schemas.microsoft.com/office/drawing/2014/main" id="{8F144E85-6A14-C6E6-8DB2-DA0BE37766F3}"/>
              </a:ext>
            </a:extLst>
          </p:cNvPr>
          <p:cNvSpPr>
            <a:spLocks noGrp="1"/>
          </p:cNvSpPr>
          <p:nvPr>
            <p:ph type="body" sz="quarter" idx="16"/>
          </p:nvPr>
        </p:nvSpPr>
        <p:spPr>
          <a:xfrm>
            <a:off x="10260121" y="5768975"/>
            <a:ext cx="1766455" cy="971550"/>
          </a:xfrm>
        </p:spPr>
        <p:txBody>
          <a:bodyPr/>
          <a:lstStyle/>
          <a:p>
            <a:endParaRPr lang="sv-SE" noProof="0" dirty="0"/>
          </a:p>
        </p:txBody>
      </p:sp>
    </p:spTree>
    <p:extLst>
      <p:ext uri="{BB962C8B-B14F-4D97-AF65-F5344CB8AC3E}">
        <p14:creationId xmlns:p14="http://schemas.microsoft.com/office/powerpoint/2010/main" val="1839736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latshållare för bild 23">
            <a:extLst>
              <a:ext uri="{FF2B5EF4-FFF2-40B4-BE49-F238E27FC236}">
                <a16:creationId xmlns:a16="http://schemas.microsoft.com/office/drawing/2014/main" id="{2CA4F415-C821-E38C-64F2-0141F6C90DEC}"/>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783" r="24935" b="-2"/>
          <a:stretch>
            <a:fillRect/>
          </a:stretch>
        </p:blipFill>
        <p:spPr>
          <a:xfrm>
            <a:off x="6096000" y="225425"/>
            <a:ext cx="5868988" cy="6407150"/>
          </a:xfrm>
          <a:prstGeom prst="rect">
            <a:avLst/>
          </a:prstGeom>
          <a:noFill/>
        </p:spPr>
      </p:pic>
      <p:sp>
        <p:nvSpPr>
          <p:cNvPr id="4" name="Rubrik 3">
            <a:extLst>
              <a:ext uri="{FF2B5EF4-FFF2-40B4-BE49-F238E27FC236}">
                <a16:creationId xmlns:a16="http://schemas.microsoft.com/office/drawing/2014/main" id="{26912D7A-85C2-AA2E-512F-1589BB5B295B}"/>
              </a:ext>
            </a:extLst>
          </p:cNvPr>
          <p:cNvSpPr>
            <a:spLocks noGrp="1"/>
          </p:cNvSpPr>
          <p:nvPr>
            <p:ph type="title"/>
          </p:nvPr>
        </p:nvSpPr>
        <p:spPr>
          <a:xfrm>
            <a:off x="515938" y="476250"/>
            <a:ext cx="5218112" cy="1325563"/>
          </a:xfrm>
        </p:spPr>
        <p:txBody>
          <a:bodyPr anchor="t">
            <a:normAutofit/>
          </a:bodyPr>
          <a:lstStyle/>
          <a:p>
            <a:r>
              <a:rPr lang="sv-SE" noProof="0" dirty="0"/>
              <a:t>Diverserad ekonomi </a:t>
            </a:r>
          </a:p>
        </p:txBody>
      </p:sp>
      <p:sp>
        <p:nvSpPr>
          <p:cNvPr id="3" name="Platshållare för innehåll 2">
            <a:extLst>
              <a:ext uri="{FF2B5EF4-FFF2-40B4-BE49-F238E27FC236}">
                <a16:creationId xmlns:a16="http://schemas.microsoft.com/office/drawing/2014/main" id="{8EA13E51-67DC-C3B1-1561-7AA26CA92A5E}"/>
              </a:ext>
            </a:extLst>
          </p:cNvPr>
          <p:cNvSpPr>
            <a:spLocks noGrp="1"/>
          </p:cNvSpPr>
          <p:nvPr>
            <p:ph idx="1"/>
          </p:nvPr>
        </p:nvSpPr>
        <p:spPr>
          <a:xfrm>
            <a:off x="515937" y="1936750"/>
            <a:ext cx="5218113" cy="3644900"/>
          </a:xfrm>
        </p:spPr>
        <p:txBody>
          <a:bodyPr>
            <a:normAutofit/>
          </a:bodyPr>
          <a:lstStyle/>
          <a:p>
            <a:r>
              <a:rPr lang="sv-SE" sz="2800" noProof="0" dirty="0"/>
              <a:t>Avtal, upphandlingar</a:t>
            </a:r>
          </a:p>
          <a:p>
            <a:r>
              <a:rPr lang="sv-SE" sz="2800" noProof="0" dirty="0" err="1"/>
              <a:t>IOP:er</a:t>
            </a:r>
            <a:r>
              <a:rPr lang="sv-SE" sz="2800" noProof="0" dirty="0"/>
              <a:t> </a:t>
            </a:r>
          </a:p>
          <a:p>
            <a:r>
              <a:rPr lang="sv-SE" sz="2800" noProof="0" dirty="0"/>
              <a:t>Projektmedel</a:t>
            </a:r>
          </a:p>
        </p:txBody>
      </p:sp>
      <p:sp>
        <p:nvSpPr>
          <p:cNvPr id="31" name="Text Placeholder 4">
            <a:extLst>
              <a:ext uri="{FF2B5EF4-FFF2-40B4-BE49-F238E27FC236}">
                <a16:creationId xmlns:a16="http://schemas.microsoft.com/office/drawing/2014/main" id="{4D0E9AA2-64B2-6854-A668-422C19BC9932}"/>
              </a:ext>
            </a:extLst>
          </p:cNvPr>
          <p:cNvSpPr>
            <a:spLocks noGrp="1"/>
          </p:cNvSpPr>
          <p:nvPr>
            <p:ph type="body" sz="quarter" idx="16"/>
          </p:nvPr>
        </p:nvSpPr>
        <p:spPr>
          <a:xfrm>
            <a:off x="10260121" y="5768975"/>
            <a:ext cx="1766455" cy="971550"/>
          </a:xfrm>
        </p:spPr>
        <p:txBody>
          <a:bodyPr/>
          <a:lstStyle/>
          <a:p>
            <a:endParaRPr lang="sv-SE" noProof="0" dirty="0"/>
          </a:p>
        </p:txBody>
      </p:sp>
    </p:spTree>
    <p:extLst>
      <p:ext uri="{BB962C8B-B14F-4D97-AF65-F5344CB8AC3E}">
        <p14:creationId xmlns:p14="http://schemas.microsoft.com/office/powerpoint/2010/main" val="3030123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7548E5-8242-9348-A22D-C10E146BFEA0}"/>
              </a:ext>
            </a:extLst>
          </p:cNvPr>
          <p:cNvSpPr>
            <a:spLocks noGrp="1"/>
          </p:cNvSpPr>
          <p:nvPr>
            <p:ph type="title"/>
          </p:nvPr>
        </p:nvSpPr>
        <p:spPr>
          <a:xfrm>
            <a:off x="515937" y="476250"/>
            <a:ext cx="10999787" cy="1325563"/>
          </a:xfrm>
        </p:spPr>
        <p:txBody>
          <a:bodyPr anchor="t">
            <a:normAutofit/>
          </a:bodyPr>
          <a:lstStyle/>
          <a:p>
            <a:r>
              <a:rPr lang="sv-SE" noProof="0" dirty="0"/>
              <a:t>Uppdragsstyrda insatser</a:t>
            </a:r>
          </a:p>
        </p:txBody>
      </p:sp>
      <p:graphicFrame>
        <p:nvGraphicFramePr>
          <p:cNvPr id="5" name="Platshållare för innehåll 2">
            <a:extLst>
              <a:ext uri="{FF2B5EF4-FFF2-40B4-BE49-F238E27FC236}">
                <a16:creationId xmlns:a16="http://schemas.microsoft.com/office/drawing/2014/main" id="{17F18AFF-40D4-B2BB-0497-1A2536C4C4D8}"/>
              </a:ext>
            </a:extLst>
          </p:cNvPr>
          <p:cNvGraphicFramePr>
            <a:graphicFrameLocks noGrp="1"/>
          </p:cNvGraphicFramePr>
          <p:nvPr>
            <p:ph idx="1"/>
            <p:extLst>
              <p:ext uri="{D42A27DB-BD31-4B8C-83A1-F6EECF244321}">
                <p14:modId xmlns:p14="http://schemas.microsoft.com/office/powerpoint/2010/main" val="260561832"/>
              </p:ext>
            </p:extLst>
          </p:nvPr>
        </p:nvGraphicFramePr>
        <p:xfrm>
          <a:off x="515937" y="1936750"/>
          <a:ext cx="11160125" cy="3644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35693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Vita pilar till det röda målet">
            <a:extLst>
              <a:ext uri="{FF2B5EF4-FFF2-40B4-BE49-F238E27FC236}">
                <a16:creationId xmlns:a16="http://schemas.microsoft.com/office/drawing/2014/main" id="{C2386331-E736-3DE1-1E11-9B976EBC7501}"/>
              </a:ext>
            </a:extLst>
          </p:cNvPr>
          <p:cNvPicPr>
            <a:picLocks noChangeAspect="1"/>
          </p:cNvPicPr>
          <p:nvPr/>
        </p:nvPicPr>
        <p:blipFill>
          <a:blip r:embed="rId2"/>
          <a:srcRect b="18225"/>
          <a:stretch>
            <a:fillRect/>
          </a:stretch>
        </p:blipFill>
        <p:spPr>
          <a:xfrm>
            <a:off x="227013" y="225425"/>
            <a:ext cx="11737975" cy="6407150"/>
          </a:xfrm>
          <a:prstGeom prst="rect">
            <a:avLst/>
          </a:prstGeom>
          <a:noFill/>
        </p:spPr>
      </p:pic>
      <p:sp>
        <p:nvSpPr>
          <p:cNvPr id="2" name="Rubrik 1">
            <a:extLst>
              <a:ext uri="{FF2B5EF4-FFF2-40B4-BE49-F238E27FC236}">
                <a16:creationId xmlns:a16="http://schemas.microsoft.com/office/drawing/2014/main" id="{3B4ED3A4-96BE-53A8-3B3A-33EF3003CCFF}"/>
              </a:ext>
            </a:extLst>
          </p:cNvPr>
          <p:cNvSpPr>
            <a:spLocks noGrp="1"/>
          </p:cNvSpPr>
          <p:nvPr>
            <p:ph type="title"/>
          </p:nvPr>
        </p:nvSpPr>
        <p:spPr>
          <a:xfrm>
            <a:off x="515938" y="476250"/>
            <a:ext cx="5218112" cy="1325563"/>
          </a:xfrm>
        </p:spPr>
        <p:txBody>
          <a:bodyPr anchor="t">
            <a:normAutofit/>
          </a:bodyPr>
          <a:lstStyle/>
          <a:p>
            <a:r>
              <a:rPr lang="sv-SE" noProof="0" dirty="0"/>
              <a:t>Två exempel kring att äga processen </a:t>
            </a:r>
          </a:p>
        </p:txBody>
      </p:sp>
      <p:sp>
        <p:nvSpPr>
          <p:cNvPr id="3" name="Platshållare för innehåll 2">
            <a:extLst>
              <a:ext uri="{FF2B5EF4-FFF2-40B4-BE49-F238E27FC236}">
                <a16:creationId xmlns:a16="http://schemas.microsoft.com/office/drawing/2014/main" id="{6A7CBB75-9B02-9054-A6B8-0F621820D56A}"/>
              </a:ext>
            </a:extLst>
          </p:cNvPr>
          <p:cNvSpPr>
            <a:spLocks noGrp="1"/>
          </p:cNvSpPr>
          <p:nvPr>
            <p:ph idx="1"/>
          </p:nvPr>
        </p:nvSpPr>
        <p:spPr>
          <a:xfrm>
            <a:off x="515937" y="1936750"/>
            <a:ext cx="5218113" cy="3644900"/>
          </a:xfrm>
        </p:spPr>
        <p:txBody>
          <a:bodyPr>
            <a:normAutofit/>
          </a:bodyPr>
          <a:lstStyle/>
          <a:p>
            <a:endParaRPr lang="sv-SE" noProof="0" dirty="0"/>
          </a:p>
          <a:p>
            <a:endParaRPr lang="sv-SE" noProof="0" dirty="0"/>
          </a:p>
        </p:txBody>
      </p:sp>
      <p:sp>
        <p:nvSpPr>
          <p:cNvPr id="15" name="Text Placeholder 4">
            <a:extLst>
              <a:ext uri="{FF2B5EF4-FFF2-40B4-BE49-F238E27FC236}">
                <a16:creationId xmlns:a16="http://schemas.microsoft.com/office/drawing/2014/main" id="{833BBFD9-71D5-E6DF-988F-EA622F430313}"/>
              </a:ext>
            </a:extLst>
          </p:cNvPr>
          <p:cNvSpPr>
            <a:spLocks noGrp="1"/>
          </p:cNvSpPr>
          <p:nvPr>
            <p:ph type="body" sz="quarter" idx="16"/>
          </p:nvPr>
        </p:nvSpPr>
        <p:spPr>
          <a:xfrm>
            <a:off x="10260121" y="5768975"/>
            <a:ext cx="1766455" cy="971550"/>
          </a:xfrm>
        </p:spPr>
        <p:txBody>
          <a:bodyPr/>
          <a:lstStyle/>
          <a:p>
            <a:endParaRPr lang="sv-SE" noProof="0" dirty="0"/>
          </a:p>
        </p:txBody>
      </p:sp>
    </p:spTree>
    <p:extLst>
      <p:ext uri="{BB962C8B-B14F-4D97-AF65-F5344CB8AC3E}">
        <p14:creationId xmlns:p14="http://schemas.microsoft.com/office/powerpoint/2010/main" val="3908904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EE32809-82E4-C98E-9A5E-CA29E307AF6B}"/>
              </a:ext>
            </a:extLst>
          </p:cNvPr>
          <p:cNvSpPr>
            <a:spLocks noGrp="1"/>
          </p:cNvSpPr>
          <p:nvPr>
            <p:ph type="title"/>
          </p:nvPr>
        </p:nvSpPr>
        <p:spPr>
          <a:xfrm>
            <a:off x="515937" y="476250"/>
            <a:ext cx="10999787" cy="1325563"/>
          </a:xfrm>
        </p:spPr>
        <p:txBody>
          <a:bodyPr anchor="t">
            <a:normAutofit/>
          </a:bodyPr>
          <a:lstStyle/>
          <a:p>
            <a:r>
              <a:rPr lang="sv-SE" noProof="0" dirty="0"/>
              <a:t>	Projekt- Ukraina</a:t>
            </a:r>
          </a:p>
        </p:txBody>
      </p:sp>
      <p:graphicFrame>
        <p:nvGraphicFramePr>
          <p:cNvPr id="7" name="Platshållare för innehåll 2">
            <a:extLst>
              <a:ext uri="{FF2B5EF4-FFF2-40B4-BE49-F238E27FC236}">
                <a16:creationId xmlns:a16="http://schemas.microsoft.com/office/drawing/2014/main" id="{89EA177C-B8C1-A2E9-54E7-5D516CC43D6E}"/>
              </a:ext>
            </a:extLst>
          </p:cNvPr>
          <p:cNvGraphicFramePr>
            <a:graphicFrameLocks noGrp="1"/>
          </p:cNvGraphicFramePr>
          <p:nvPr>
            <p:ph idx="1"/>
            <p:extLst>
              <p:ext uri="{D42A27DB-BD31-4B8C-83A1-F6EECF244321}">
                <p14:modId xmlns:p14="http://schemas.microsoft.com/office/powerpoint/2010/main" val="2197691042"/>
              </p:ext>
            </p:extLst>
          </p:nvPr>
        </p:nvGraphicFramePr>
        <p:xfrm>
          <a:off x="515937" y="1936750"/>
          <a:ext cx="11160125" cy="3644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081801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445DCEB-E034-A56B-EB73-8AD49163D047}"/>
              </a:ext>
            </a:extLst>
          </p:cNvPr>
          <p:cNvSpPr>
            <a:spLocks noGrp="1"/>
          </p:cNvSpPr>
          <p:nvPr>
            <p:ph type="title"/>
          </p:nvPr>
        </p:nvSpPr>
        <p:spPr>
          <a:xfrm>
            <a:off x="515938" y="476250"/>
            <a:ext cx="11160124" cy="1325563"/>
          </a:xfrm>
        </p:spPr>
        <p:txBody>
          <a:bodyPr anchor="ctr">
            <a:normAutofit/>
          </a:bodyPr>
          <a:lstStyle/>
          <a:p>
            <a:r>
              <a:rPr lang="sv-SE" noProof="0" dirty="0" err="1"/>
              <a:t>Pronto</a:t>
            </a:r>
            <a:endParaRPr lang="sv-SE" noProof="0" dirty="0"/>
          </a:p>
        </p:txBody>
      </p:sp>
      <p:sp>
        <p:nvSpPr>
          <p:cNvPr id="4" name="Platshållare för innehåll 3">
            <a:extLst>
              <a:ext uri="{FF2B5EF4-FFF2-40B4-BE49-F238E27FC236}">
                <a16:creationId xmlns:a16="http://schemas.microsoft.com/office/drawing/2014/main" id="{3115F71F-8188-637F-9888-DF48E6664089}"/>
              </a:ext>
            </a:extLst>
          </p:cNvPr>
          <p:cNvSpPr>
            <a:spLocks noGrp="1"/>
          </p:cNvSpPr>
          <p:nvPr>
            <p:ph idx="1"/>
          </p:nvPr>
        </p:nvSpPr>
        <p:spPr>
          <a:xfrm>
            <a:off x="3997324" y="1936750"/>
            <a:ext cx="7678737" cy="3644900"/>
          </a:xfrm>
        </p:spPr>
        <p:txBody>
          <a:bodyPr>
            <a:normAutofit/>
          </a:bodyPr>
          <a:lstStyle/>
          <a:p>
            <a:r>
              <a:rPr lang="sv-SE" sz="2400" noProof="0" dirty="0"/>
              <a:t>Kranskommunerna socialtjänst- arbetsmarknadsenheterna </a:t>
            </a:r>
          </a:p>
          <a:p>
            <a:r>
              <a:rPr lang="sv-SE" sz="2400" noProof="0" dirty="0"/>
              <a:t>Formar en modell under arbetets gång</a:t>
            </a:r>
          </a:p>
          <a:p>
            <a:r>
              <a:rPr lang="sv-SE" sz="2400" noProof="0" dirty="0"/>
              <a:t>Målgrupp</a:t>
            </a:r>
          </a:p>
          <a:p>
            <a:r>
              <a:rPr lang="sv-SE" sz="2400" noProof="0" dirty="0"/>
              <a:t>Resultat 45%</a:t>
            </a:r>
          </a:p>
          <a:p>
            <a:r>
              <a:rPr lang="sv-SE" sz="2400" noProof="0" dirty="0"/>
              <a:t>Krans Kommunernas förutsättningar att driva projekt och målgrupp- aktivitetskravet</a:t>
            </a:r>
          </a:p>
          <a:p>
            <a:r>
              <a:rPr lang="sv-SE" sz="2400" noProof="0" dirty="0"/>
              <a:t>Var finns jobben och utbildningsmöjligheter?</a:t>
            </a:r>
          </a:p>
          <a:p>
            <a:endParaRPr lang="sv-SE" noProof="0" dirty="0"/>
          </a:p>
          <a:p>
            <a:endParaRPr lang="sv-SE" noProof="0" dirty="0"/>
          </a:p>
          <a:p>
            <a:pPr marL="0" indent="0">
              <a:buNone/>
            </a:pPr>
            <a:endParaRPr lang="sv-SE" noProof="0" dirty="0"/>
          </a:p>
        </p:txBody>
      </p:sp>
      <p:pic>
        <p:nvPicPr>
          <p:cNvPr id="8" name="Platshållare för bild 7">
            <a:extLst>
              <a:ext uri="{FF2B5EF4-FFF2-40B4-BE49-F238E27FC236}">
                <a16:creationId xmlns:a16="http://schemas.microsoft.com/office/drawing/2014/main" id="{1F99589F-5261-3E94-4E22-9809B31BEF58}"/>
              </a:ext>
            </a:extLst>
          </p:cNvPr>
          <p:cNvPicPr>
            <a:picLocks noGrp="1" noChangeAspect="1"/>
          </p:cNvPicPr>
          <p:nvPr>
            <p:ph type="pic" sz="quarter" idx="4294967295"/>
          </p:nvPr>
        </p:nvPicPr>
        <p:blipFill>
          <a:blip r:embed="rId2"/>
          <a:srcRect t="6856" b="19440"/>
          <a:stretch>
            <a:fillRect/>
          </a:stretch>
        </p:blipFill>
        <p:spPr>
          <a:xfrm>
            <a:off x="515937" y="1936750"/>
            <a:ext cx="3290887" cy="3644900"/>
          </a:xfrm>
          <a:prstGeom prst="rect">
            <a:avLst/>
          </a:prstGeom>
          <a:noFill/>
        </p:spPr>
      </p:pic>
    </p:spTree>
    <p:extLst>
      <p:ext uri="{BB962C8B-B14F-4D97-AF65-F5344CB8AC3E}">
        <p14:creationId xmlns:p14="http://schemas.microsoft.com/office/powerpoint/2010/main" val="623197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öteborgs Stadsmission">
  <a:themeElements>
    <a:clrScheme name="Göteborgs Stadsmission">
      <a:dk1>
        <a:sysClr val="windowText" lastClr="000000"/>
      </a:dk1>
      <a:lt1>
        <a:sysClr val="window" lastClr="FFFFFF"/>
      </a:lt1>
      <a:dk2>
        <a:srgbClr val="005082"/>
      </a:dk2>
      <a:lt2>
        <a:srgbClr val="262626"/>
      </a:lt2>
      <a:accent1>
        <a:srgbClr val="0071BA"/>
      </a:accent1>
      <a:accent2>
        <a:srgbClr val="619ACA"/>
      </a:accent2>
      <a:accent3>
        <a:srgbClr val="D0E2EF"/>
      </a:accent3>
      <a:accent4>
        <a:srgbClr val="4D4D4D"/>
      </a:accent4>
      <a:accent5>
        <a:srgbClr val="999999"/>
      </a:accent5>
      <a:accent6>
        <a:srgbClr val="D7D7D7"/>
      </a:accent6>
      <a:hlink>
        <a:srgbClr val="0563C1"/>
      </a:hlink>
      <a:folHlink>
        <a:srgbClr val="954F72"/>
      </a:folHlink>
    </a:clrScheme>
    <a:fontScheme name="Anpassat 84">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_Göteborgs Stadsmission" id="{7922B3AB-A2D6-437E-A962-526A33FCD84F}" vid="{A3CB2EEE-6175-4CFB-9D09-1B9C355454F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C7D7F42364AD046910235F2E29F2B5A" ma:contentTypeVersion="11" ma:contentTypeDescription="Skapa ett nytt dokument." ma:contentTypeScope="" ma:versionID="a146b4b0880892b0578a1878ae9ec5c3">
  <xsd:schema xmlns:xsd="http://www.w3.org/2001/XMLSchema" xmlns:xs="http://www.w3.org/2001/XMLSchema" xmlns:p="http://schemas.microsoft.com/office/2006/metadata/properties" xmlns:ns2="8dfcbd46-eb79-4dc0-b3ad-467709f93d7f" xmlns:ns3="de4d183f-7ce5-4170-b059-5b32fe7afb79" targetNamespace="http://schemas.microsoft.com/office/2006/metadata/properties" ma:root="true" ma:fieldsID="c3009d582d1083cef345a0936b5622ec" ns2:_="" ns3:_="">
    <xsd:import namespace="8dfcbd46-eb79-4dc0-b3ad-467709f93d7f"/>
    <xsd:import namespace="de4d183f-7ce5-4170-b059-5b32fe7afb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fcbd46-eb79-4dc0-b3ad-467709f93d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eringar" ma:readOnly="false" ma:fieldId="{5cf76f15-5ced-4ddc-b409-7134ff3c332f}" ma:taxonomyMulti="true" ma:sspId="fe994498-4079-427d-8cb5-4fc827e27c25"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4d183f-7ce5-4170-b059-5b32fe7afb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e838bd2-4f0a-4484-acba-51e582738b2d}" ma:internalName="TaxCatchAll" ma:showField="CatchAllData" ma:web="de4d183f-7ce5-4170-b059-5b32fe7afb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dfcbd46-eb79-4dc0-b3ad-467709f93d7f">
      <Terms xmlns="http://schemas.microsoft.com/office/infopath/2007/PartnerControls"/>
    </lcf76f155ced4ddcb4097134ff3c332f>
    <TaxCatchAll xmlns="de4d183f-7ce5-4170-b059-5b32fe7afb7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EEE727-9D42-4472-A804-44703EF78077}"/>
</file>

<file path=customXml/itemProps2.xml><?xml version="1.0" encoding="utf-8"?>
<ds:datastoreItem xmlns:ds="http://schemas.openxmlformats.org/officeDocument/2006/customXml" ds:itemID="{9B7FB116-BB34-4985-AEBD-BF984281A196}">
  <ds:schemaRefs>
    <ds:schemaRef ds:uri="http://www.w3.org/XML/1998/namespace"/>
    <ds:schemaRef ds:uri="http://schemas.microsoft.com/office/2006/metadata/properties"/>
    <ds:schemaRef ds:uri="56a34c87-613e-44d9-9808-649fb2c38787"/>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3E3C3FFA-B728-4E76-BF73-7ED6A644B9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770</TotalTime>
  <Words>1328</Words>
  <Application>Microsoft Office PowerPoint</Application>
  <PresentationFormat>Bredbild</PresentationFormat>
  <Paragraphs>192</Paragraphs>
  <Slides>16</Slides>
  <Notes>2</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16</vt:i4>
      </vt:variant>
    </vt:vector>
  </HeadingPairs>
  <TitlesOfParts>
    <vt:vector size="21" baseType="lpstr">
      <vt:lpstr>Arial</vt:lpstr>
      <vt:lpstr>Arial Black</vt:lpstr>
      <vt:lpstr>Calibri</vt:lpstr>
      <vt:lpstr>Göteborgs Stadsmission</vt:lpstr>
      <vt:lpstr>think-cell Slide</vt:lpstr>
      <vt:lpstr>Välkomna</vt:lpstr>
      <vt:lpstr> Att äga processen – nyckeln till verklig arbetsintegration</vt:lpstr>
      <vt:lpstr>Vad tror ni gör den största skillnaden-arbetsträning </vt:lpstr>
      <vt:lpstr>Kompetens och förhållningssätt </vt:lpstr>
      <vt:lpstr>Diverserad ekonomi </vt:lpstr>
      <vt:lpstr>Uppdragsstyrda insatser</vt:lpstr>
      <vt:lpstr>Två exempel kring att äga processen </vt:lpstr>
      <vt:lpstr> Projekt- Ukraina</vt:lpstr>
      <vt:lpstr>Pronto</vt:lpstr>
      <vt:lpstr>Pronto 10 månader</vt:lpstr>
      <vt:lpstr>Upplägg</vt:lpstr>
      <vt:lpstr>Feedback från deltagare kring arbetssättet</vt:lpstr>
      <vt:lpstr>PowerPoint-presentation</vt:lpstr>
      <vt:lpstr>Några saker att fundera över</vt:lpstr>
      <vt:lpstr>Insatser där vi inte mäter utfallet provocerar !</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a Wihlborg</dc:creator>
  <cp:lastModifiedBy>Cecilia Wihlborg</cp:lastModifiedBy>
  <cp:revision>1</cp:revision>
  <cp:lastPrinted>2026-05-06T07:45:37Z</cp:lastPrinted>
  <dcterms:created xsi:type="dcterms:W3CDTF">2026-04-27T11:07:10Z</dcterms:created>
  <dcterms:modified xsi:type="dcterms:W3CDTF">2026-05-06T09:3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7D7F42364AD046910235F2E29F2B5A</vt:lpwstr>
  </property>
</Properties>
</file>